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2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23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ags/tag61.xml" ContentType="application/vnd.openxmlformats-officedocument.presentationml.tags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notesSlides/notesSlide2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8"/>
  </p:notesMasterIdLst>
  <p:handoutMasterIdLst>
    <p:handoutMasterId r:id="rId109"/>
  </p:handoutMasterIdLst>
  <p:sldIdLst>
    <p:sldId id="258" r:id="rId5"/>
    <p:sldId id="422" r:id="rId6"/>
    <p:sldId id="528" r:id="rId7"/>
    <p:sldId id="440" r:id="rId8"/>
    <p:sldId id="442" r:id="rId9"/>
    <p:sldId id="428" r:id="rId10"/>
    <p:sldId id="293" r:id="rId11"/>
    <p:sldId id="327" r:id="rId12"/>
    <p:sldId id="294" r:id="rId13"/>
    <p:sldId id="437" r:id="rId14"/>
    <p:sldId id="438" r:id="rId15"/>
    <p:sldId id="475" r:id="rId16"/>
    <p:sldId id="439" r:id="rId17"/>
    <p:sldId id="429" r:id="rId18"/>
    <p:sldId id="424" r:id="rId19"/>
    <p:sldId id="434" r:id="rId20"/>
    <p:sldId id="430" r:id="rId21"/>
    <p:sldId id="433" r:id="rId22"/>
    <p:sldId id="435" r:id="rId23"/>
    <p:sldId id="436" r:id="rId24"/>
    <p:sldId id="423" r:id="rId25"/>
    <p:sldId id="441" r:id="rId26"/>
    <p:sldId id="444" r:id="rId27"/>
    <p:sldId id="445" r:id="rId28"/>
    <p:sldId id="452" r:id="rId29"/>
    <p:sldId id="453" r:id="rId30"/>
    <p:sldId id="454" r:id="rId31"/>
    <p:sldId id="446" r:id="rId32"/>
    <p:sldId id="443" r:id="rId33"/>
    <p:sldId id="447" r:id="rId34"/>
    <p:sldId id="448" r:id="rId35"/>
    <p:sldId id="449" r:id="rId36"/>
    <p:sldId id="450" r:id="rId37"/>
    <p:sldId id="482" r:id="rId38"/>
    <p:sldId id="483" r:id="rId39"/>
    <p:sldId id="484" r:id="rId40"/>
    <p:sldId id="455" r:id="rId41"/>
    <p:sldId id="456" r:id="rId42"/>
    <p:sldId id="459" r:id="rId43"/>
    <p:sldId id="500" r:id="rId44"/>
    <p:sldId id="501" r:id="rId45"/>
    <p:sldId id="298" r:id="rId46"/>
    <p:sldId id="299" r:id="rId47"/>
    <p:sldId id="388" r:id="rId48"/>
    <p:sldId id="389" r:id="rId49"/>
    <p:sldId id="393" r:id="rId50"/>
    <p:sldId id="394" r:id="rId51"/>
    <p:sldId id="399" r:id="rId52"/>
    <p:sldId id="400" r:id="rId53"/>
    <p:sldId id="401" r:id="rId54"/>
    <p:sldId id="403" r:id="rId55"/>
    <p:sldId id="502" r:id="rId56"/>
    <p:sldId id="463" r:id="rId57"/>
    <p:sldId id="464" r:id="rId58"/>
    <p:sldId id="460" r:id="rId59"/>
    <p:sldId id="458" r:id="rId60"/>
    <p:sldId id="465" r:id="rId61"/>
    <p:sldId id="499" r:id="rId62"/>
    <p:sldId id="507" r:id="rId63"/>
    <p:sldId id="504" r:id="rId64"/>
    <p:sldId id="498" r:id="rId65"/>
    <p:sldId id="505" r:id="rId66"/>
    <p:sldId id="515" r:id="rId67"/>
    <p:sldId id="462" r:id="rId68"/>
    <p:sldId id="466" r:id="rId69"/>
    <p:sldId id="467" r:id="rId70"/>
    <p:sldId id="301" r:id="rId71"/>
    <p:sldId id="468" r:id="rId72"/>
    <p:sldId id="470" r:id="rId73"/>
    <p:sldId id="506" r:id="rId74"/>
    <p:sldId id="296" r:id="rId75"/>
    <p:sldId id="469" r:id="rId76"/>
    <p:sldId id="480" r:id="rId77"/>
    <p:sldId id="481" r:id="rId78"/>
    <p:sldId id="516" r:id="rId79"/>
    <p:sldId id="517" r:id="rId80"/>
    <p:sldId id="519" r:id="rId81"/>
    <p:sldId id="520" r:id="rId82"/>
    <p:sldId id="523" r:id="rId83"/>
    <p:sldId id="525" r:id="rId84"/>
    <p:sldId id="526" r:id="rId85"/>
    <p:sldId id="479" r:id="rId86"/>
    <p:sldId id="485" r:id="rId87"/>
    <p:sldId id="486" r:id="rId88"/>
    <p:sldId id="487" r:id="rId89"/>
    <p:sldId id="488" r:id="rId90"/>
    <p:sldId id="492" r:id="rId91"/>
    <p:sldId id="497" r:id="rId92"/>
    <p:sldId id="493" r:id="rId93"/>
    <p:sldId id="490" r:id="rId94"/>
    <p:sldId id="489" r:id="rId95"/>
    <p:sldId id="491" r:id="rId96"/>
    <p:sldId id="478" r:id="rId97"/>
    <p:sldId id="471" r:id="rId98"/>
    <p:sldId id="477" r:id="rId99"/>
    <p:sldId id="476" r:id="rId100"/>
    <p:sldId id="472" r:id="rId101"/>
    <p:sldId id="494" r:id="rId102"/>
    <p:sldId id="495" r:id="rId103"/>
    <p:sldId id="496" r:id="rId104"/>
    <p:sldId id="474" r:id="rId105"/>
    <p:sldId id="527" r:id="rId106"/>
    <p:sldId id="421" r:id="rId107"/>
  </p:sldIdLst>
  <p:sldSz cx="9144000" cy="6858000" type="screen4x3"/>
  <p:notesSz cx="6797675" cy="985678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1">
          <p15:clr>
            <a:srgbClr val="A4A3A4"/>
          </p15:clr>
        </p15:guide>
        <p15:guide id="2" pos="3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5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illian Montgomery" initials="gm" lastIdx="1" clrIdx="0"/>
  <p:cmAuthor id="1" name="Oz Levi" initials="OL" lastIdx="1" clrIdx="1">
    <p:extLst>
      <p:ext uri="{19B8F6BF-5375-455C-9EA6-DF929625EA0E}">
        <p15:presenceInfo xmlns:p15="http://schemas.microsoft.com/office/powerpoint/2012/main" userId="S-1-5-21-2907216671-2927827531-1289118810-334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4646"/>
    <a:srgbClr val="880A1F"/>
    <a:srgbClr val="7D7D7D"/>
    <a:srgbClr val="ED1933"/>
    <a:srgbClr val="443D67"/>
    <a:srgbClr val="FF0066"/>
    <a:srgbClr val="9189B9"/>
    <a:srgbClr val="6B60A0"/>
    <a:srgbClr val="E6E6E6"/>
    <a:srgbClr val="EFE9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085" autoAdjust="0"/>
    <p:restoredTop sz="82565" autoAdjust="0"/>
  </p:normalViewPr>
  <p:slideViewPr>
    <p:cSldViewPr snapToGrid="0" snapToObjects="1">
      <p:cViewPr varScale="1">
        <p:scale>
          <a:sx n="77" d="100"/>
          <a:sy n="77" d="100"/>
        </p:scale>
        <p:origin x="1392" y="54"/>
      </p:cViewPr>
      <p:guideLst>
        <p:guide orient="horz" pos="1081"/>
        <p:guide pos="3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-4032" y="-112"/>
      </p:cViewPr>
      <p:guideLst>
        <p:guide orient="horz" pos="3105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12" Type="http://schemas.openxmlformats.org/officeDocument/2006/relationships/viewProps" Target="viewProps.xml"/><Relationship Id="rId16" Type="http://schemas.openxmlformats.org/officeDocument/2006/relationships/slide" Target="slides/slide12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slide" Target="slides/slide9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113" Type="http://schemas.openxmlformats.org/officeDocument/2006/relationships/theme" Target="theme/theme1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08" Type="http://schemas.openxmlformats.org/officeDocument/2006/relationships/notesMaster" Target="notesMasters/notesMaster1.xml"/><Relationship Id="rId54" Type="http://schemas.openxmlformats.org/officeDocument/2006/relationships/slide" Target="slides/slide50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Relationship Id="rId114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handoutMaster" Target="handoutMasters/handoutMaster1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commentAuthors" Target="commentAuthors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3" Type="http://schemas.openxmlformats.org/officeDocument/2006/relationships/customXml" Target="../customXml/item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111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418E6E-9076-4DBB-A362-DD7C6F2C522B}" type="doc">
      <dgm:prSet loTypeId="urn:microsoft.com/office/officeart/2005/8/layout/chevronAccent+Icon" loCatId="officeonline" qsTypeId="urn:microsoft.com/office/officeart/2005/8/quickstyle/simple1" qsCatId="simple" csTypeId="urn:microsoft.com/office/officeart/2005/8/colors/colorful1" csCatId="colorful" phldr="1"/>
      <dgm:spPr/>
    </dgm:pt>
    <dgm:pt modelId="{A5F62362-16C3-4C97-A4B4-B1E968ED45FC}">
      <dgm:prSet phldrT="[Text]"/>
      <dgm:spPr/>
      <dgm:t>
        <a:bodyPr/>
        <a:lstStyle/>
        <a:p>
          <a:r>
            <a:rPr lang="en-US" dirty="0" smtClean="0"/>
            <a:t>Data </a:t>
          </a:r>
          <a:endParaRPr lang="en-US" dirty="0"/>
        </a:p>
      </dgm:t>
    </dgm:pt>
    <dgm:pt modelId="{8AB0FB95-7332-451E-8311-4D4F981E377B}" type="parTrans" cxnId="{415FF131-5163-4C26-B346-008882CADA29}">
      <dgm:prSet/>
      <dgm:spPr/>
      <dgm:t>
        <a:bodyPr/>
        <a:lstStyle/>
        <a:p>
          <a:endParaRPr lang="en-US"/>
        </a:p>
      </dgm:t>
    </dgm:pt>
    <dgm:pt modelId="{69D44598-7938-4B42-A83E-BD86945C0B3C}" type="sibTrans" cxnId="{415FF131-5163-4C26-B346-008882CADA29}">
      <dgm:prSet/>
      <dgm:spPr/>
      <dgm:t>
        <a:bodyPr/>
        <a:lstStyle/>
        <a:p>
          <a:endParaRPr lang="en-US"/>
        </a:p>
      </dgm:t>
    </dgm:pt>
    <dgm:pt modelId="{9B22263D-E1D5-4F93-B393-EC696B5AD9BB}">
      <dgm:prSet phldrT="[Text]"/>
      <dgm:spPr/>
      <dgm:t>
        <a:bodyPr/>
        <a:lstStyle/>
        <a:p>
          <a:r>
            <a:rPr lang="en-US" dirty="0" smtClean="0">
              <a:sym typeface="Wingdings" panose="05000000000000000000" pitchFamily="2" charset="2"/>
            </a:rPr>
            <a:t>Information </a:t>
          </a:r>
          <a:endParaRPr lang="en-US" dirty="0"/>
        </a:p>
      </dgm:t>
    </dgm:pt>
    <dgm:pt modelId="{02BA463E-C248-4E08-8C64-E58D475CF322}" type="parTrans" cxnId="{E444F756-A38D-4862-ADD8-E0DCBC9F019D}">
      <dgm:prSet/>
      <dgm:spPr/>
      <dgm:t>
        <a:bodyPr/>
        <a:lstStyle/>
        <a:p>
          <a:endParaRPr lang="en-US"/>
        </a:p>
      </dgm:t>
    </dgm:pt>
    <dgm:pt modelId="{BEC4D045-3E0E-4654-9487-1A10DBA113FB}" type="sibTrans" cxnId="{E444F756-A38D-4862-ADD8-E0DCBC9F019D}">
      <dgm:prSet/>
      <dgm:spPr/>
      <dgm:t>
        <a:bodyPr/>
        <a:lstStyle/>
        <a:p>
          <a:endParaRPr lang="en-US"/>
        </a:p>
      </dgm:t>
    </dgm:pt>
    <dgm:pt modelId="{CE353D70-D4C0-4DD6-9B57-3A91D317EEF5}">
      <dgm:prSet phldrT="[Text]"/>
      <dgm:spPr/>
      <dgm:t>
        <a:bodyPr/>
        <a:lstStyle/>
        <a:p>
          <a:r>
            <a:rPr lang="en-US" dirty="0" smtClean="0">
              <a:sym typeface="Wingdings" panose="05000000000000000000" pitchFamily="2" charset="2"/>
            </a:rPr>
            <a:t>Insight </a:t>
          </a:r>
          <a:endParaRPr lang="en-US" dirty="0"/>
        </a:p>
      </dgm:t>
    </dgm:pt>
    <dgm:pt modelId="{59A1DB1A-79C5-43B3-A143-BB391C8A70D1}" type="parTrans" cxnId="{DE1485D4-9AC4-4C58-8739-25CCEE7CFFD9}">
      <dgm:prSet/>
      <dgm:spPr/>
      <dgm:t>
        <a:bodyPr/>
        <a:lstStyle/>
        <a:p>
          <a:endParaRPr lang="en-US"/>
        </a:p>
      </dgm:t>
    </dgm:pt>
    <dgm:pt modelId="{F4E6CC5A-921E-449C-91E4-58C026DECA78}" type="sibTrans" cxnId="{DE1485D4-9AC4-4C58-8739-25CCEE7CFFD9}">
      <dgm:prSet/>
      <dgm:spPr/>
      <dgm:t>
        <a:bodyPr/>
        <a:lstStyle/>
        <a:p>
          <a:endParaRPr lang="en-US"/>
        </a:p>
      </dgm:t>
    </dgm:pt>
    <dgm:pt modelId="{9EDE728A-9DFF-4DC6-87C2-F24860CF1ED5}">
      <dgm:prSet phldrT="[Text]"/>
      <dgm:spPr/>
      <dgm:t>
        <a:bodyPr/>
        <a:lstStyle/>
        <a:p>
          <a:r>
            <a:rPr lang="en-US" dirty="0" smtClean="0">
              <a:sym typeface="Wingdings" panose="05000000000000000000" pitchFamily="2" charset="2"/>
            </a:rPr>
            <a:t>Action</a:t>
          </a:r>
          <a:endParaRPr lang="en-US" dirty="0"/>
        </a:p>
      </dgm:t>
    </dgm:pt>
    <dgm:pt modelId="{E60C83A8-A10A-45D0-A64D-FEDAAB1A4458}" type="parTrans" cxnId="{AFF2AD79-C694-4B9A-A9F3-24903EF3A733}">
      <dgm:prSet/>
      <dgm:spPr/>
      <dgm:t>
        <a:bodyPr/>
        <a:lstStyle/>
        <a:p>
          <a:endParaRPr lang="en-US"/>
        </a:p>
      </dgm:t>
    </dgm:pt>
    <dgm:pt modelId="{C77E673F-F722-4268-8F66-F39AA5269BBB}" type="sibTrans" cxnId="{AFF2AD79-C694-4B9A-A9F3-24903EF3A733}">
      <dgm:prSet/>
      <dgm:spPr/>
      <dgm:t>
        <a:bodyPr/>
        <a:lstStyle/>
        <a:p>
          <a:endParaRPr lang="en-US"/>
        </a:p>
      </dgm:t>
    </dgm:pt>
    <dgm:pt modelId="{1FF51CE5-6F23-42EB-A068-A0671A2C986F}" type="pres">
      <dgm:prSet presAssocID="{9B418E6E-9076-4DBB-A362-DD7C6F2C522B}" presName="Name0" presStyleCnt="0">
        <dgm:presLayoutVars>
          <dgm:dir/>
          <dgm:resizeHandles val="exact"/>
        </dgm:presLayoutVars>
      </dgm:prSet>
      <dgm:spPr/>
    </dgm:pt>
    <dgm:pt modelId="{10A656B8-3434-458C-B84A-8FFADA0B5E47}" type="pres">
      <dgm:prSet presAssocID="{A5F62362-16C3-4C97-A4B4-B1E968ED45FC}" presName="composite" presStyleCnt="0"/>
      <dgm:spPr/>
    </dgm:pt>
    <dgm:pt modelId="{B54E1530-07A6-458C-8F46-AB5063CAD8B6}" type="pres">
      <dgm:prSet presAssocID="{A5F62362-16C3-4C97-A4B4-B1E968ED45FC}" presName="bgChev" presStyleLbl="node1" presStyleIdx="0" presStyleCnt="4"/>
      <dgm:spPr/>
    </dgm:pt>
    <dgm:pt modelId="{F5D24899-FB5A-4E06-8CE6-0256ED38B7AE}" type="pres">
      <dgm:prSet presAssocID="{A5F62362-16C3-4C97-A4B4-B1E968ED45FC}" presName="txNode" presStyleLbl="f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6A56DA-BEF5-45E8-A10C-D40156154D54}" type="pres">
      <dgm:prSet presAssocID="{69D44598-7938-4B42-A83E-BD86945C0B3C}" presName="compositeSpace" presStyleCnt="0"/>
      <dgm:spPr/>
    </dgm:pt>
    <dgm:pt modelId="{B7F4D34B-65BD-411C-964A-40A6FB05A8FC}" type="pres">
      <dgm:prSet presAssocID="{9B22263D-E1D5-4F93-B393-EC696B5AD9BB}" presName="composite" presStyleCnt="0"/>
      <dgm:spPr/>
    </dgm:pt>
    <dgm:pt modelId="{6514C56A-2FE1-49B9-B2F6-FAEFE4DAF5E2}" type="pres">
      <dgm:prSet presAssocID="{9B22263D-E1D5-4F93-B393-EC696B5AD9BB}" presName="bgChev" presStyleLbl="node1" presStyleIdx="1" presStyleCnt="4"/>
      <dgm:spPr/>
    </dgm:pt>
    <dgm:pt modelId="{7F722AA8-39A6-4DA0-90D9-046A899E1E8B}" type="pres">
      <dgm:prSet presAssocID="{9B22263D-E1D5-4F93-B393-EC696B5AD9BB}" presName="txNode" presStyleLbl="f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8B4C3D-BB0B-47E2-B0A5-20002E2CEDD3}" type="pres">
      <dgm:prSet presAssocID="{BEC4D045-3E0E-4654-9487-1A10DBA113FB}" presName="compositeSpace" presStyleCnt="0"/>
      <dgm:spPr/>
    </dgm:pt>
    <dgm:pt modelId="{A5D79E27-5FDE-4B9E-AE1B-FD5D8FAF1EDC}" type="pres">
      <dgm:prSet presAssocID="{CE353D70-D4C0-4DD6-9B57-3A91D317EEF5}" presName="composite" presStyleCnt="0"/>
      <dgm:spPr/>
    </dgm:pt>
    <dgm:pt modelId="{5BA7B64A-8B7B-4552-A225-C2C99094A8CA}" type="pres">
      <dgm:prSet presAssocID="{CE353D70-D4C0-4DD6-9B57-3A91D317EEF5}" presName="bgChev" presStyleLbl="node1" presStyleIdx="2" presStyleCnt="4"/>
      <dgm:spPr/>
    </dgm:pt>
    <dgm:pt modelId="{94DF411D-CC8A-4999-8DFD-45B0A34B16A2}" type="pres">
      <dgm:prSet presAssocID="{CE353D70-D4C0-4DD6-9B57-3A91D317EEF5}" presName="txNode" presStyleLbl="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CCC1A7-C66C-4FE4-9693-1ED7E880AE66}" type="pres">
      <dgm:prSet presAssocID="{F4E6CC5A-921E-449C-91E4-58C026DECA78}" presName="compositeSpace" presStyleCnt="0"/>
      <dgm:spPr/>
    </dgm:pt>
    <dgm:pt modelId="{096BA9FB-9525-4372-BD15-0E6EBA178319}" type="pres">
      <dgm:prSet presAssocID="{9EDE728A-9DFF-4DC6-87C2-F24860CF1ED5}" presName="composite" presStyleCnt="0"/>
      <dgm:spPr/>
    </dgm:pt>
    <dgm:pt modelId="{71E44F26-01DD-42C4-9A27-0F4EDA6BF84B}" type="pres">
      <dgm:prSet presAssocID="{9EDE728A-9DFF-4DC6-87C2-F24860CF1ED5}" presName="bgChev" presStyleLbl="node1" presStyleIdx="3" presStyleCnt="4"/>
      <dgm:spPr/>
    </dgm:pt>
    <dgm:pt modelId="{A7548700-EC85-4924-ACF3-40849C844FCD}" type="pres">
      <dgm:prSet presAssocID="{9EDE728A-9DFF-4DC6-87C2-F24860CF1ED5}" presName="txNode" presStyleLbl="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C1C4D45-2EEF-4487-B083-21EAE6553D0F}" type="presOf" srcId="{A5F62362-16C3-4C97-A4B4-B1E968ED45FC}" destId="{F5D24899-FB5A-4E06-8CE6-0256ED38B7AE}" srcOrd="0" destOrd="0" presId="urn:microsoft.com/office/officeart/2005/8/layout/chevronAccent+Icon"/>
    <dgm:cxn modelId="{415FF131-5163-4C26-B346-008882CADA29}" srcId="{9B418E6E-9076-4DBB-A362-DD7C6F2C522B}" destId="{A5F62362-16C3-4C97-A4B4-B1E968ED45FC}" srcOrd="0" destOrd="0" parTransId="{8AB0FB95-7332-451E-8311-4D4F981E377B}" sibTransId="{69D44598-7938-4B42-A83E-BD86945C0B3C}"/>
    <dgm:cxn modelId="{BA661901-449E-41B3-92BF-CC2431E16868}" type="presOf" srcId="{CE353D70-D4C0-4DD6-9B57-3A91D317EEF5}" destId="{94DF411D-CC8A-4999-8DFD-45B0A34B16A2}" srcOrd="0" destOrd="0" presId="urn:microsoft.com/office/officeart/2005/8/layout/chevronAccent+Icon"/>
    <dgm:cxn modelId="{DE1485D4-9AC4-4C58-8739-25CCEE7CFFD9}" srcId="{9B418E6E-9076-4DBB-A362-DD7C6F2C522B}" destId="{CE353D70-D4C0-4DD6-9B57-3A91D317EEF5}" srcOrd="2" destOrd="0" parTransId="{59A1DB1A-79C5-43B3-A143-BB391C8A70D1}" sibTransId="{F4E6CC5A-921E-449C-91E4-58C026DECA78}"/>
    <dgm:cxn modelId="{E444F756-A38D-4862-ADD8-E0DCBC9F019D}" srcId="{9B418E6E-9076-4DBB-A362-DD7C6F2C522B}" destId="{9B22263D-E1D5-4F93-B393-EC696B5AD9BB}" srcOrd="1" destOrd="0" parTransId="{02BA463E-C248-4E08-8C64-E58D475CF322}" sibTransId="{BEC4D045-3E0E-4654-9487-1A10DBA113FB}"/>
    <dgm:cxn modelId="{5D8AB660-5279-4CF2-AC4B-2773CD65129E}" type="presOf" srcId="{9B418E6E-9076-4DBB-A362-DD7C6F2C522B}" destId="{1FF51CE5-6F23-42EB-A068-A0671A2C986F}" srcOrd="0" destOrd="0" presId="urn:microsoft.com/office/officeart/2005/8/layout/chevronAccent+Icon"/>
    <dgm:cxn modelId="{317EA00C-0EC5-40C8-BE9B-7FBA849FA583}" type="presOf" srcId="{9EDE728A-9DFF-4DC6-87C2-F24860CF1ED5}" destId="{A7548700-EC85-4924-ACF3-40849C844FCD}" srcOrd="0" destOrd="0" presId="urn:microsoft.com/office/officeart/2005/8/layout/chevronAccent+Icon"/>
    <dgm:cxn modelId="{AFF2AD79-C694-4B9A-A9F3-24903EF3A733}" srcId="{9B418E6E-9076-4DBB-A362-DD7C6F2C522B}" destId="{9EDE728A-9DFF-4DC6-87C2-F24860CF1ED5}" srcOrd="3" destOrd="0" parTransId="{E60C83A8-A10A-45D0-A64D-FEDAAB1A4458}" sibTransId="{C77E673F-F722-4268-8F66-F39AA5269BBB}"/>
    <dgm:cxn modelId="{4718DB9A-EFEC-43A6-90B2-2D38DA25ECA1}" type="presOf" srcId="{9B22263D-E1D5-4F93-B393-EC696B5AD9BB}" destId="{7F722AA8-39A6-4DA0-90D9-046A899E1E8B}" srcOrd="0" destOrd="0" presId="urn:microsoft.com/office/officeart/2005/8/layout/chevronAccent+Icon"/>
    <dgm:cxn modelId="{8ACB98FE-9FE8-4778-B63F-5E5EDA0F4464}" type="presParOf" srcId="{1FF51CE5-6F23-42EB-A068-A0671A2C986F}" destId="{10A656B8-3434-458C-B84A-8FFADA0B5E47}" srcOrd="0" destOrd="0" presId="urn:microsoft.com/office/officeart/2005/8/layout/chevronAccent+Icon"/>
    <dgm:cxn modelId="{26834E05-8C0F-406D-AE56-96412B79A2A4}" type="presParOf" srcId="{10A656B8-3434-458C-B84A-8FFADA0B5E47}" destId="{B54E1530-07A6-458C-8F46-AB5063CAD8B6}" srcOrd="0" destOrd="0" presId="urn:microsoft.com/office/officeart/2005/8/layout/chevronAccent+Icon"/>
    <dgm:cxn modelId="{4661C68F-4938-4C00-9758-24F504BA991D}" type="presParOf" srcId="{10A656B8-3434-458C-B84A-8FFADA0B5E47}" destId="{F5D24899-FB5A-4E06-8CE6-0256ED38B7AE}" srcOrd="1" destOrd="0" presId="urn:microsoft.com/office/officeart/2005/8/layout/chevronAccent+Icon"/>
    <dgm:cxn modelId="{1ECDDF33-1CA8-4204-BC30-1B23C460996B}" type="presParOf" srcId="{1FF51CE5-6F23-42EB-A068-A0671A2C986F}" destId="{716A56DA-BEF5-45E8-A10C-D40156154D54}" srcOrd="1" destOrd="0" presId="urn:microsoft.com/office/officeart/2005/8/layout/chevronAccent+Icon"/>
    <dgm:cxn modelId="{17B947BE-A2CB-4E0D-838C-39B5147D0C17}" type="presParOf" srcId="{1FF51CE5-6F23-42EB-A068-A0671A2C986F}" destId="{B7F4D34B-65BD-411C-964A-40A6FB05A8FC}" srcOrd="2" destOrd="0" presId="urn:microsoft.com/office/officeart/2005/8/layout/chevronAccent+Icon"/>
    <dgm:cxn modelId="{1CDF7675-D8B7-4360-9548-9E4BF3AFC521}" type="presParOf" srcId="{B7F4D34B-65BD-411C-964A-40A6FB05A8FC}" destId="{6514C56A-2FE1-49B9-B2F6-FAEFE4DAF5E2}" srcOrd="0" destOrd="0" presId="urn:microsoft.com/office/officeart/2005/8/layout/chevronAccent+Icon"/>
    <dgm:cxn modelId="{EEDAA8B2-18C2-45F3-B5FE-4B56E80D29E7}" type="presParOf" srcId="{B7F4D34B-65BD-411C-964A-40A6FB05A8FC}" destId="{7F722AA8-39A6-4DA0-90D9-046A899E1E8B}" srcOrd="1" destOrd="0" presId="urn:microsoft.com/office/officeart/2005/8/layout/chevronAccent+Icon"/>
    <dgm:cxn modelId="{A08380FD-F9BE-442B-B47F-2C7E572E5BD7}" type="presParOf" srcId="{1FF51CE5-6F23-42EB-A068-A0671A2C986F}" destId="{D18B4C3D-BB0B-47E2-B0A5-20002E2CEDD3}" srcOrd="3" destOrd="0" presId="urn:microsoft.com/office/officeart/2005/8/layout/chevronAccent+Icon"/>
    <dgm:cxn modelId="{A0C4BBDD-6B25-457D-8BA4-7EC5D73C8003}" type="presParOf" srcId="{1FF51CE5-6F23-42EB-A068-A0671A2C986F}" destId="{A5D79E27-5FDE-4B9E-AE1B-FD5D8FAF1EDC}" srcOrd="4" destOrd="0" presId="urn:microsoft.com/office/officeart/2005/8/layout/chevronAccent+Icon"/>
    <dgm:cxn modelId="{F1CCBCF5-EE29-4E95-8614-AFD89A96DAD9}" type="presParOf" srcId="{A5D79E27-5FDE-4B9E-AE1B-FD5D8FAF1EDC}" destId="{5BA7B64A-8B7B-4552-A225-C2C99094A8CA}" srcOrd="0" destOrd="0" presId="urn:microsoft.com/office/officeart/2005/8/layout/chevronAccent+Icon"/>
    <dgm:cxn modelId="{C8C175F9-D31F-42B7-99A2-76C49AAE26C7}" type="presParOf" srcId="{A5D79E27-5FDE-4B9E-AE1B-FD5D8FAF1EDC}" destId="{94DF411D-CC8A-4999-8DFD-45B0A34B16A2}" srcOrd="1" destOrd="0" presId="urn:microsoft.com/office/officeart/2005/8/layout/chevronAccent+Icon"/>
    <dgm:cxn modelId="{FC9041D2-B8A0-47BC-9B60-7C7530A53096}" type="presParOf" srcId="{1FF51CE5-6F23-42EB-A068-A0671A2C986F}" destId="{CECCC1A7-C66C-4FE4-9693-1ED7E880AE66}" srcOrd="5" destOrd="0" presId="urn:microsoft.com/office/officeart/2005/8/layout/chevronAccent+Icon"/>
    <dgm:cxn modelId="{C4A7326A-EDA5-4911-9783-9A7646B0C4D1}" type="presParOf" srcId="{1FF51CE5-6F23-42EB-A068-A0671A2C986F}" destId="{096BA9FB-9525-4372-BD15-0E6EBA178319}" srcOrd="6" destOrd="0" presId="urn:microsoft.com/office/officeart/2005/8/layout/chevronAccent+Icon"/>
    <dgm:cxn modelId="{D5A43C10-D35B-4771-B90D-A8B83FF4195E}" type="presParOf" srcId="{096BA9FB-9525-4372-BD15-0E6EBA178319}" destId="{71E44F26-01DD-42C4-9A27-0F4EDA6BF84B}" srcOrd="0" destOrd="0" presId="urn:microsoft.com/office/officeart/2005/8/layout/chevronAccent+Icon"/>
    <dgm:cxn modelId="{64CD1E69-71DE-4337-AD78-46CBACD8FA44}" type="presParOf" srcId="{096BA9FB-9525-4372-BD15-0E6EBA178319}" destId="{A7548700-EC85-4924-ACF3-40849C844FCD}" srcOrd="1" destOrd="0" presId="urn:microsoft.com/office/officeart/2005/8/layout/chevronAccent+Icon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C87C104-73C6-4CA9-8EB6-3A702C2C4178}" type="doc">
      <dgm:prSet loTypeId="urn:microsoft.com/office/officeart/2005/8/layout/funne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160C73-C75C-438E-A2B3-E4C8765A488F}">
      <dgm:prSet phldrT="[Text]"/>
      <dgm:spPr>
        <a:solidFill>
          <a:srgbClr val="C00000"/>
        </a:solidFill>
      </dgm:spPr>
      <dgm:t>
        <a:bodyPr/>
        <a:lstStyle/>
        <a:p>
          <a:r>
            <a:rPr lang="en-US" dirty="0" smtClean="0"/>
            <a:t>Source B</a:t>
          </a:r>
          <a:endParaRPr lang="en-US" dirty="0"/>
        </a:p>
      </dgm:t>
    </dgm:pt>
    <dgm:pt modelId="{02DBBF4B-33AF-4DA9-A676-1C864BC695A9}" type="parTrans" cxnId="{1F0E3077-B13B-453C-ABAB-D08B9B9578C6}">
      <dgm:prSet/>
      <dgm:spPr/>
      <dgm:t>
        <a:bodyPr/>
        <a:lstStyle/>
        <a:p>
          <a:endParaRPr lang="en-US"/>
        </a:p>
      </dgm:t>
    </dgm:pt>
    <dgm:pt modelId="{28A6C6A0-8E7D-4645-92A3-0C2DFD403E0C}" type="sibTrans" cxnId="{1F0E3077-B13B-453C-ABAB-D08B9B9578C6}">
      <dgm:prSet/>
      <dgm:spPr/>
      <dgm:t>
        <a:bodyPr/>
        <a:lstStyle/>
        <a:p>
          <a:endParaRPr lang="en-US"/>
        </a:p>
      </dgm:t>
    </dgm:pt>
    <dgm:pt modelId="{A0294BC1-982F-47C5-BB89-457D9B68D7FA}">
      <dgm:prSet phldrT="[Text]"/>
      <dgm:spPr>
        <a:solidFill>
          <a:srgbClr val="C00000"/>
        </a:solidFill>
      </dgm:spPr>
      <dgm:t>
        <a:bodyPr/>
        <a:lstStyle/>
        <a:p>
          <a:r>
            <a:rPr lang="en-US" dirty="0" smtClean="0"/>
            <a:t>Source A</a:t>
          </a:r>
          <a:endParaRPr lang="en-US" dirty="0"/>
        </a:p>
      </dgm:t>
    </dgm:pt>
    <dgm:pt modelId="{6AC3733A-F88F-410F-8FB2-828461047F57}" type="parTrans" cxnId="{64DC223A-9B34-4DFE-9713-809FE889FD77}">
      <dgm:prSet/>
      <dgm:spPr/>
      <dgm:t>
        <a:bodyPr/>
        <a:lstStyle/>
        <a:p>
          <a:endParaRPr lang="en-US"/>
        </a:p>
      </dgm:t>
    </dgm:pt>
    <dgm:pt modelId="{C40D89A0-9503-4049-A871-C1381885F82B}" type="sibTrans" cxnId="{64DC223A-9B34-4DFE-9713-809FE889FD77}">
      <dgm:prSet/>
      <dgm:spPr/>
      <dgm:t>
        <a:bodyPr/>
        <a:lstStyle/>
        <a:p>
          <a:endParaRPr lang="en-US"/>
        </a:p>
      </dgm:t>
    </dgm:pt>
    <dgm:pt modelId="{5EF3AEFE-1F77-43C1-A351-6DB24DA2F068}">
      <dgm:prSet phldrT="[Text]"/>
      <dgm:spPr>
        <a:solidFill>
          <a:srgbClr val="C00000"/>
        </a:solidFill>
      </dgm:spPr>
      <dgm:t>
        <a:bodyPr/>
        <a:lstStyle/>
        <a:p>
          <a:r>
            <a:rPr lang="en-US" dirty="0" smtClean="0"/>
            <a:t>Source C</a:t>
          </a:r>
          <a:endParaRPr lang="en-US" dirty="0"/>
        </a:p>
      </dgm:t>
    </dgm:pt>
    <dgm:pt modelId="{CA43EF0B-6359-4C59-B227-E978D2B9066A}" type="parTrans" cxnId="{6B4324AC-FB6E-41CB-AB40-E91186C658F2}">
      <dgm:prSet/>
      <dgm:spPr/>
      <dgm:t>
        <a:bodyPr/>
        <a:lstStyle/>
        <a:p>
          <a:endParaRPr lang="en-US"/>
        </a:p>
      </dgm:t>
    </dgm:pt>
    <dgm:pt modelId="{50D9F0E8-CEEB-44AD-9D48-C7CEC9A4FBB1}" type="sibTrans" cxnId="{6B4324AC-FB6E-41CB-AB40-E91186C658F2}">
      <dgm:prSet/>
      <dgm:spPr/>
      <dgm:t>
        <a:bodyPr/>
        <a:lstStyle/>
        <a:p>
          <a:endParaRPr lang="en-US"/>
        </a:p>
      </dgm:t>
    </dgm:pt>
    <dgm:pt modelId="{BAC462B3-108D-4EC5-9EA9-A5676C3B5884}">
      <dgm:prSet phldrT="[Text]"/>
      <dgm:spPr/>
      <dgm:t>
        <a:bodyPr/>
        <a:lstStyle/>
        <a:p>
          <a:r>
            <a:rPr lang="en-US" dirty="0" smtClean="0"/>
            <a:t>Master Data</a:t>
          </a:r>
          <a:endParaRPr lang="en-US" dirty="0"/>
        </a:p>
      </dgm:t>
    </dgm:pt>
    <dgm:pt modelId="{E54C9018-26A1-468B-BE51-BCAC0D33474C}" type="parTrans" cxnId="{B74C4629-869E-4C7C-96B4-5BACEDE90D7B}">
      <dgm:prSet/>
      <dgm:spPr/>
      <dgm:t>
        <a:bodyPr/>
        <a:lstStyle/>
        <a:p>
          <a:endParaRPr lang="en-US"/>
        </a:p>
      </dgm:t>
    </dgm:pt>
    <dgm:pt modelId="{3F98762A-9DF5-4F33-ADFB-9DA374E71F0E}" type="sibTrans" cxnId="{B74C4629-869E-4C7C-96B4-5BACEDE90D7B}">
      <dgm:prSet/>
      <dgm:spPr/>
      <dgm:t>
        <a:bodyPr/>
        <a:lstStyle/>
        <a:p>
          <a:endParaRPr lang="en-US"/>
        </a:p>
      </dgm:t>
    </dgm:pt>
    <dgm:pt modelId="{43B1B2EA-44B0-446B-BC5D-C66F44D0163F}" type="pres">
      <dgm:prSet presAssocID="{0C87C104-73C6-4CA9-8EB6-3A702C2C4178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B0F8AB1-C6EC-46FA-86B6-5A67043326CD}" type="pres">
      <dgm:prSet presAssocID="{0C87C104-73C6-4CA9-8EB6-3A702C2C4178}" presName="ellipse" presStyleLbl="trBgShp" presStyleIdx="0" presStyleCnt="1"/>
      <dgm:spPr>
        <a:solidFill>
          <a:schemeClr val="bg2"/>
        </a:solidFill>
      </dgm:spPr>
    </dgm:pt>
    <dgm:pt modelId="{B66AB5EB-2F0F-4D0F-96E9-F8145F68AE06}" type="pres">
      <dgm:prSet presAssocID="{0C87C104-73C6-4CA9-8EB6-3A702C2C4178}" presName="arrow1" presStyleLbl="fgShp" presStyleIdx="0" presStyleCnt="1"/>
      <dgm:spPr>
        <a:solidFill>
          <a:srgbClr val="464646"/>
        </a:solidFill>
      </dgm:spPr>
    </dgm:pt>
    <dgm:pt modelId="{A3CCB42A-FE9E-4747-BE46-830A9D72BF6D}" type="pres">
      <dgm:prSet presAssocID="{0C87C104-73C6-4CA9-8EB6-3A702C2C4178}" presName="rectangle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921E2D-B7DB-4258-B5A5-C8EE7DA5B390}" type="pres">
      <dgm:prSet presAssocID="{A0294BC1-982F-47C5-BB89-457D9B68D7FA}" presName="item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811D37-6C78-481A-A488-BD2EC55174E6}" type="pres">
      <dgm:prSet presAssocID="{5EF3AEFE-1F77-43C1-A351-6DB24DA2F068}" presName="item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FCF63E-6030-4DD2-8D67-0E98DD842075}" type="pres">
      <dgm:prSet presAssocID="{BAC462B3-108D-4EC5-9EA9-A5676C3B5884}" presName="item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11FFB7-E459-4B95-97E9-F4E692477D04}" type="pres">
      <dgm:prSet presAssocID="{0C87C104-73C6-4CA9-8EB6-3A702C2C4178}" presName="funnel" presStyleLbl="trAlignAcc1" presStyleIdx="0" presStyleCnt="1"/>
      <dgm:spPr>
        <a:solidFill>
          <a:schemeClr val="bg2">
            <a:alpha val="40000"/>
          </a:schemeClr>
        </a:solidFill>
      </dgm:spPr>
    </dgm:pt>
  </dgm:ptLst>
  <dgm:cxnLst>
    <dgm:cxn modelId="{4E53FA94-A7A3-4B64-AE0B-65091724DBFD}" type="presOf" srcId="{0C87C104-73C6-4CA9-8EB6-3A702C2C4178}" destId="{43B1B2EA-44B0-446B-BC5D-C66F44D0163F}" srcOrd="0" destOrd="0" presId="urn:microsoft.com/office/officeart/2005/8/layout/funnel1"/>
    <dgm:cxn modelId="{1F0E3077-B13B-453C-ABAB-D08B9B9578C6}" srcId="{0C87C104-73C6-4CA9-8EB6-3A702C2C4178}" destId="{BE160C73-C75C-438E-A2B3-E4C8765A488F}" srcOrd="0" destOrd="0" parTransId="{02DBBF4B-33AF-4DA9-A676-1C864BC695A9}" sibTransId="{28A6C6A0-8E7D-4645-92A3-0C2DFD403E0C}"/>
    <dgm:cxn modelId="{A4DD9457-A9EB-4946-AE39-CFF3F064B586}" type="presOf" srcId="{BAC462B3-108D-4EC5-9EA9-A5676C3B5884}" destId="{A3CCB42A-FE9E-4747-BE46-830A9D72BF6D}" srcOrd="0" destOrd="0" presId="urn:microsoft.com/office/officeart/2005/8/layout/funnel1"/>
    <dgm:cxn modelId="{9663D652-A845-4D9A-BEE8-FCEE0BAFBFDA}" type="presOf" srcId="{A0294BC1-982F-47C5-BB89-457D9B68D7FA}" destId="{9D811D37-6C78-481A-A488-BD2EC55174E6}" srcOrd="0" destOrd="0" presId="urn:microsoft.com/office/officeart/2005/8/layout/funnel1"/>
    <dgm:cxn modelId="{7B87C85C-B5F6-4C91-8652-AF30B32A2BF1}" type="presOf" srcId="{5EF3AEFE-1F77-43C1-A351-6DB24DA2F068}" destId="{D0921E2D-B7DB-4258-B5A5-C8EE7DA5B390}" srcOrd="0" destOrd="0" presId="urn:microsoft.com/office/officeart/2005/8/layout/funnel1"/>
    <dgm:cxn modelId="{64DC223A-9B34-4DFE-9713-809FE889FD77}" srcId="{0C87C104-73C6-4CA9-8EB6-3A702C2C4178}" destId="{A0294BC1-982F-47C5-BB89-457D9B68D7FA}" srcOrd="1" destOrd="0" parTransId="{6AC3733A-F88F-410F-8FB2-828461047F57}" sibTransId="{C40D89A0-9503-4049-A871-C1381885F82B}"/>
    <dgm:cxn modelId="{6B4324AC-FB6E-41CB-AB40-E91186C658F2}" srcId="{0C87C104-73C6-4CA9-8EB6-3A702C2C4178}" destId="{5EF3AEFE-1F77-43C1-A351-6DB24DA2F068}" srcOrd="2" destOrd="0" parTransId="{CA43EF0B-6359-4C59-B227-E978D2B9066A}" sibTransId="{50D9F0E8-CEEB-44AD-9D48-C7CEC9A4FBB1}"/>
    <dgm:cxn modelId="{49955FA5-57CA-43DF-93E8-8F64A46FD616}" type="presOf" srcId="{BE160C73-C75C-438E-A2B3-E4C8765A488F}" destId="{92FCF63E-6030-4DD2-8D67-0E98DD842075}" srcOrd="0" destOrd="0" presId="urn:microsoft.com/office/officeart/2005/8/layout/funnel1"/>
    <dgm:cxn modelId="{B74C4629-869E-4C7C-96B4-5BACEDE90D7B}" srcId="{0C87C104-73C6-4CA9-8EB6-3A702C2C4178}" destId="{BAC462B3-108D-4EC5-9EA9-A5676C3B5884}" srcOrd="3" destOrd="0" parTransId="{E54C9018-26A1-468B-BE51-BCAC0D33474C}" sibTransId="{3F98762A-9DF5-4F33-ADFB-9DA374E71F0E}"/>
    <dgm:cxn modelId="{20BEE250-C042-4ECE-B562-3CCDD6EA70A5}" type="presParOf" srcId="{43B1B2EA-44B0-446B-BC5D-C66F44D0163F}" destId="{2B0F8AB1-C6EC-46FA-86B6-5A67043326CD}" srcOrd="0" destOrd="0" presId="urn:microsoft.com/office/officeart/2005/8/layout/funnel1"/>
    <dgm:cxn modelId="{7704FD04-81FF-4158-AF31-355E0536F993}" type="presParOf" srcId="{43B1B2EA-44B0-446B-BC5D-C66F44D0163F}" destId="{B66AB5EB-2F0F-4D0F-96E9-F8145F68AE06}" srcOrd="1" destOrd="0" presId="urn:microsoft.com/office/officeart/2005/8/layout/funnel1"/>
    <dgm:cxn modelId="{4FDEF05E-923A-434A-A425-FA8F87DCDEB8}" type="presParOf" srcId="{43B1B2EA-44B0-446B-BC5D-C66F44D0163F}" destId="{A3CCB42A-FE9E-4747-BE46-830A9D72BF6D}" srcOrd="2" destOrd="0" presId="urn:microsoft.com/office/officeart/2005/8/layout/funnel1"/>
    <dgm:cxn modelId="{360AE8CF-8A48-40DC-B0D4-B341CBF8CF7A}" type="presParOf" srcId="{43B1B2EA-44B0-446B-BC5D-C66F44D0163F}" destId="{D0921E2D-B7DB-4258-B5A5-C8EE7DA5B390}" srcOrd="3" destOrd="0" presId="urn:microsoft.com/office/officeart/2005/8/layout/funnel1"/>
    <dgm:cxn modelId="{53B4BC14-3E9E-42C7-8D1A-804399EB44CC}" type="presParOf" srcId="{43B1B2EA-44B0-446B-BC5D-C66F44D0163F}" destId="{9D811D37-6C78-481A-A488-BD2EC55174E6}" srcOrd="4" destOrd="0" presId="urn:microsoft.com/office/officeart/2005/8/layout/funnel1"/>
    <dgm:cxn modelId="{26EB00CC-0AC6-4329-AC4A-132300F0A071}" type="presParOf" srcId="{43B1B2EA-44B0-446B-BC5D-C66F44D0163F}" destId="{92FCF63E-6030-4DD2-8D67-0E98DD842075}" srcOrd="5" destOrd="0" presId="urn:microsoft.com/office/officeart/2005/8/layout/funnel1"/>
    <dgm:cxn modelId="{091125D7-9CCC-4F9E-AE37-3895B4E7C36D}" type="presParOf" srcId="{43B1B2EA-44B0-446B-BC5D-C66F44D0163F}" destId="{7A11FFB7-E459-4B95-97E9-F4E692477D04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D8719AD-FAE2-48C5-9A97-D30571B5B465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DB8E340-8FA5-44D4-B00E-58DA7EDD0331}">
      <dgm:prSet phldrT="[Text]"/>
      <dgm:spPr/>
      <dgm:t>
        <a:bodyPr/>
        <a:lstStyle/>
        <a:p>
          <a:r>
            <a:rPr lang="en-US" dirty="0" smtClean="0"/>
            <a:t>Dimensional Modeling</a:t>
          </a:r>
          <a:endParaRPr lang="en-US" dirty="0"/>
        </a:p>
      </dgm:t>
    </dgm:pt>
    <dgm:pt modelId="{8103D387-59DD-4B16-B7C4-E42CE96A2C0E}" type="parTrans" cxnId="{2FC255BE-CCE1-40F1-834A-7E66E126C849}">
      <dgm:prSet/>
      <dgm:spPr/>
      <dgm:t>
        <a:bodyPr/>
        <a:lstStyle/>
        <a:p>
          <a:endParaRPr lang="en-US"/>
        </a:p>
      </dgm:t>
    </dgm:pt>
    <dgm:pt modelId="{AD4F4657-E08D-4D08-8F97-A8A6E71E39F6}" type="sibTrans" cxnId="{2FC255BE-CCE1-40F1-834A-7E66E126C849}">
      <dgm:prSet/>
      <dgm:spPr/>
      <dgm:t>
        <a:bodyPr/>
        <a:lstStyle/>
        <a:p>
          <a:endParaRPr lang="en-US"/>
        </a:p>
      </dgm:t>
    </dgm:pt>
    <dgm:pt modelId="{E78CBE30-35E2-4534-9BC1-609D1640C95B}" type="pres">
      <dgm:prSet presAssocID="{6D8719AD-FAE2-48C5-9A97-D30571B5B46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A02D8931-5A4F-44FE-888A-040E1A94A1D3}" type="pres">
      <dgm:prSet presAssocID="{6D8719AD-FAE2-48C5-9A97-D30571B5B465}" presName="Name1" presStyleCnt="0"/>
      <dgm:spPr/>
    </dgm:pt>
    <dgm:pt modelId="{689FCFFD-CBC0-4F9C-9017-778644080CA0}" type="pres">
      <dgm:prSet presAssocID="{6D8719AD-FAE2-48C5-9A97-D30571B5B465}" presName="cycle" presStyleCnt="0"/>
      <dgm:spPr/>
    </dgm:pt>
    <dgm:pt modelId="{8CE82349-FB35-4EBC-856E-6983445627CD}" type="pres">
      <dgm:prSet presAssocID="{6D8719AD-FAE2-48C5-9A97-D30571B5B465}" presName="srcNode" presStyleLbl="node1" presStyleIdx="0" presStyleCnt="1"/>
      <dgm:spPr/>
    </dgm:pt>
    <dgm:pt modelId="{B1571432-935F-418F-8EB1-EA1A43050BB1}" type="pres">
      <dgm:prSet presAssocID="{6D8719AD-FAE2-48C5-9A97-D30571B5B465}" presName="conn" presStyleLbl="parChTrans1D2" presStyleIdx="0" presStyleCnt="1"/>
      <dgm:spPr/>
      <dgm:t>
        <a:bodyPr/>
        <a:lstStyle/>
        <a:p>
          <a:endParaRPr lang="en-US"/>
        </a:p>
      </dgm:t>
    </dgm:pt>
    <dgm:pt modelId="{51FEC0AA-6CF7-4FFF-BA9A-C22EAB88A584}" type="pres">
      <dgm:prSet presAssocID="{6D8719AD-FAE2-48C5-9A97-D30571B5B465}" presName="extraNode" presStyleLbl="node1" presStyleIdx="0" presStyleCnt="1"/>
      <dgm:spPr/>
    </dgm:pt>
    <dgm:pt modelId="{755BC9EA-7F27-406B-9E59-9B374508A274}" type="pres">
      <dgm:prSet presAssocID="{6D8719AD-FAE2-48C5-9A97-D30571B5B465}" presName="dstNode" presStyleLbl="node1" presStyleIdx="0" presStyleCnt="1"/>
      <dgm:spPr/>
    </dgm:pt>
    <dgm:pt modelId="{C9C50F75-F718-44BF-A030-638EB38AB518}" type="pres">
      <dgm:prSet presAssocID="{ADB8E340-8FA5-44D4-B00E-58DA7EDD0331}" presName="text_1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9E843E-46C3-4160-91D9-081F1FC7B070}" type="pres">
      <dgm:prSet presAssocID="{ADB8E340-8FA5-44D4-B00E-58DA7EDD0331}" presName="accent_1" presStyleCnt="0"/>
      <dgm:spPr/>
    </dgm:pt>
    <dgm:pt modelId="{0B61A90B-997E-4CEF-8930-D8FD01DF341B}" type="pres">
      <dgm:prSet presAssocID="{ADB8E340-8FA5-44D4-B00E-58DA7EDD0331}" presName="accentRepeatNode" presStyleLbl="solidFgAcc1" presStyleIdx="0" presStyleCnt="1"/>
      <dgm:spPr/>
    </dgm:pt>
  </dgm:ptLst>
  <dgm:cxnLst>
    <dgm:cxn modelId="{27616557-5B77-4546-BE30-02989684C6A8}" type="presOf" srcId="{AD4F4657-E08D-4D08-8F97-A8A6E71E39F6}" destId="{B1571432-935F-418F-8EB1-EA1A43050BB1}" srcOrd="0" destOrd="0" presId="urn:microsoft.com/office/officeart/2008/layout/VerticalCurvedList"/>
    <dgm:cxn modelId="{0AE060E1-61A8-4F01-B869-4E1AB38D51EE}" type="presOf" srcId="{6D8719AD-FAE2-48C5-9A97-D30571B5B465}" destId="{E78CBE30-35E2-4534-9BC1-609D1640C95B}" srcOrd="0" destOrd="0" presId="urn:microsoft.com/office/officeart/2008/layout/VerticalCurvedList"/>
    <dgm:cxn modelId="{2FC255BE-CCE1-40F1-834A-7E66E126C849}" srcId="{6D8719AD-FAE2-48C5-9A97-D30571B5B465}" destId="{ADB8E340-8FA5-44D4-B00E-58DA7EDD0331}" srcOrd="0" destOrd="0" parTransId="{8103D387-59DD-4B16-B7C4-E42CE96A2C0E}" sibTransId="{AD4F4657-E08D-4D08-8F97-A8A6E71E39F6}"/>
    <dgm:cxn modelId="{5D45ED40-DC33-4508-A65C-3491102A0025}" type="presOf" srcId="{ADB8E340-8FA5-44D4-B00E-58DA7EDD0331}" destId="{C9C50F75-F718-44BF-A030-638EB38AB518}" srcOrd="0" destOrd="0" presId="urn:microsoft.com/office/officeart/2008/layout/VerticalCurvedList"/>
    <dgm:cxn modelId="{971910A6-17B9-4D1F-8C08-D331E3827FFE}" type="presParOf" srcId="{E78CBE30-35E2-4534-9BC1-609D1640C95B}" destId="{A02D8931-5A4F-44FE-888A-040E1A94A1D3}" srcOrd="0" destOrd="0" presId="urn:microsoft.com/office/officeart/2008/layout/VerticalCurvedList"/>
    <dgm:cxn modelId="{76D9EA0C-BE8C-4BA4-B825-98EA96240A95}" type="presParOf" srcId="{A02D8931-5A4F-44FE-888A-040E1A94A1D3}" destId="{689FCFFD-CBC0-4F9C-9017-778644080CA0}" srcOrd="0" destOrd="0" presId="urn:microsoft.com/office/officeart/2008/layout/VerticalCurvedList"/>
    <dgm:cxn modelId="{044DF1A9-65C3-4EDE-BC8A-639470C13DFB}" type="presParOf" srcId="{689FCFFD-CBC0-4F9C-9017-778644080CA0}" destId="{8CE82349-FB35-4EBC-856E-6983445627CD}" srcOrd="0" destOrd="0" presId="urn:microsoft.com/office/officeart/2008/layout/VerticalCurvedList"/>
    <dgm:cxn modelId="{6E0D5146-AF31-4770-9127-1A66AECA489C}" type="presParOf" srcId="{689FCFFD-CBC0-4F9C-9017-778644080CA0}" destId="{B1571432-935F-418F-8EB1-EA1A43050BB1}" srcOrd="1" destOrd="0" presId="urn:microsoft.com/office/officeart/2008/layout/VerticalCurvedList"/>
    <dgm:cxn modelId="{D26C688B-9A63-43DA-96EF-62ED09957056}" type="presParOf" srcId="{689FCFFD-CBC0-4F9C-9017-778644080CA0}" destId="{51FEC0AA-6CF7-4FFF-BA9A-C22EAB88A584}" srcOrd="2" destOrd="0" presId="urn:microsoft.com/office/officeart/2008/layout/VerticalCurvedList"/>
    <dgm:cxn modelId="{2664D274-6856-4E5D-AEFA-9DEB155E4AD0}" type="presParOf" srcId="{689FCFFD-CBC0-4F9C-9017-778644080CA0}" destId="{755BC9EA-7F27-406B-9E59-9B374508A274}" srcOrd="3" destOrd="0" presId="urn:microsoft.com/office/officeart/2008/layout/VerticalCurvedList"/>
    <dgm:cxn modelId="{20FC539E-C8A5-4EED-BC87-962527FDB6F0}" type="presParOf" srcId="{A02D8931-5A4F-44FE-888A-040E1A94A1D3}" destId="{C9C50F75-F718-44BF-A030-638EB38AB518}" srcOrd="1" destOrd="0" presId="urn:microsoft.com/office/officeart/2008/layout/VerticalCurvedList"/>
    <dgm:cxn modelId="{19B8FAE0-81A1-40CF-8633-592970A2D175}" type="presParOf" srcId="{A02D8931-5A4F-44FE-888A-040E1A94A1D3}" destId="{369E843E-46C3-4160-91D9-081F1FC7B070}" srcOrd="2" destOrd="0" presId="urn:microsoft.com/office/officeart/2008/layout/VerticalCurvedList"/>
    <dgm:cxn modelId="{4B3BCF80-6F9A-49AD-8A04-07FE1AAA8642}" type="presParOf" srcId="{369E843E-46C3-4160-91D9-081F1FC7B070}" destId="{0B61A90B-997E-4CEF-8930-D8FD01DF341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B21B2A4-7B3C-42B3-8069-15A593BA0AC2}" type="doc">
      <dgm:prSet loTypeId="urn:microsoft.com/office/officeart/2005/8/layout/radial5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pPr rtl="1"/>
          <a:endParaRPr lang="he-IL"/>
        </a:p>
      </dgm:t>
    </dgm:pt>
    <dgm:pt modelId="{85F47EAE-8496-4389-ADF3-3ED0CBD5939D}">
      <dgm:prSet phldrT="[Text]"/>
      <dgm:spPr/>
      <dgm:t>
        <a:bodyPr/>
        <a:lstStyle/>
        <a:p>
          <a:pPr rtl="1"/>
          <a:r>
            <a:rPr lang="en-US" dirty="0" smtClean="0"/>
            <a:t>Population</a:t>
          </a:r>
          <a:endParaRPr lang="he-IL" dirty="0"/>
        </a:p>
      </dgm:t>
    </dgm:pt>
    <dgm:pt modelId="{1388C302-FDDF-40A6-9DE9-A5559D94E076}" type="parTrans" cxnId="{B1B39CF5-C8D3-4345-BB77-D3F6EAEE8BB7}">
      <dgm:prSet/>
      <dgm:spPr/>
      <dgm:t>
        <a:bodyPr/>
        <a:lstStyle/>
        <a:p>
          <a:pPr rtl="1"/>
          <a:endParaRPr lang="he-IL"/>
        </a:p>
      </dgm:t>
    </dgm:pt>
    <dgm:pt modelId="{7A6DB251-8817-4F96-8B57-38556021317F}" type="sibTrans" cxnId="{B1B39CF5-C8D3-4345-BB77-D3F6EAEE8BB7}">
      <dgm:prSet/>
      <dgm:spPr/>
      <dgm:t>
        <a:bodyPr/>
        <a:lstStyle/>
        <a:p>
          <a:pPr rtl="1"/>
          <a:endParaRPr lang="he-IL"/>
        </a:p>
      </dgm:t>
    </dgm:pt>
    <dgm:pt modelId="{158162CE-7801-4DE1-8982-8503CF9576FB}">
      <dgm:prSet phldrT="[Text]"/>
      <dgm:spPr/>
      <dgm:t>
        <a:bodyPr/>
        <a:lstStyle/>
        <a:p>
          <a:pPr rtl="1"/>
          <a:r>
            <a:rPr lang="en-US" dirty="0" smtClean="0"/>
            <a:t>Time</a:t>
          </a:r>
          <a:endParaRPr lang="he-IL" dirty="0"/>
        </a:p>
      </dgm:t>
    </dgm:pt>
    <dgm:pt modelId="{05D50616-F471-4C03-B2E0-A0A0C5A623AD}" type="parTrans" cxnId="{23FBA6AB-2C73-4520-9F92-81DA67E78495}">
      <dgm:prSet/>
      <dgm:spPr/>
      <dgm:t>
        <a:bodyPr/>
        <a:lstStyle/>
        <a:p>
          <a:pPr rtl="1"/>
          <a:endParaRPr lang="he-IL"/>
        </a:p>
      </dgm:t>
    </dgm:pt>
    <dgm:pt modelId="{E135A1D0-E017-49C2-A06C-8BD5768E5AF0}" type="sibTrans" cxnId="{23FBA6AB-2C73-4520-9F92-81DA67E78495}">
      <dgm:prSet/>
      <dgm:spPr/>
      <dgm:t>
        <a:bodyPr/>
        <a:lstStyle/>
        <a:p>
          <a:pPr rtl="1"/>
          <a:endParaRPr lang="he-IL"/>
        </a:p>
      </dgm:t>
    </dgm:pt>
    <dgm:pt modelId="{F70FACCC-6E37-40A6-BC9B-4719B97CEA16}">
      <dgm:prSet phldrT="[Text]"/>
      <dgm:spPr/>
      <dgm:t>
        <a:bodyPr/>
        <a:lstStyle/>
        <a:p>
          <a:pPr rtl="1"/>
          <a:r>
            <a:rPr lang="en-US" dirty="0" smtClean="0"/>
            <a:t>Location</a:t>
          </a:r>
          <a:endParaRPr lang="he-IL" dirty="0"/>
        </a:p>
      </dgm:t>
    </dgm:pt>
    <dgm:pt modelId="{730E62D3-3D49-4F87-8AE4-8DC760721A0B}" type="parTrans" cxnId="{A05E771C-DE39-4AD8-A6A5-7D4BF9092D1A}">
      <dgm:prSet/>
      <dgm:spPr/>
      <dgm:t>
        <a:bodyPr/>
        <a:lstStyle/>
        <a:p>
          <a:pPr rtl="1"/>
          <a:endParaRPr lang="he-IL"/>
        </a:p>
      </dgm:t>
    </dgm:pt>
    <dgm:pt modelId="{6C5E86ED-FCDB-4DDB-A263-86C3E9223A56}" type="sibTrans" cxnId="{A05E771C-DE39-4AD8-A6A5-7D4BF9092D1A}">
      <dgm:prSet/>
      <dgm:spPr/>
      <dgm:t>
        <a:bodyPr/>
        <a:lstStyle/>
        <a:p>
          <a:pPr rtl="1"/>
          <a:endParaRPr lang="he-IL"/>
        </a:p>
      </dgm:t>
    </dgm:pt>
    <dgm:pt modelId="{CC9B4EBA-F6CB-4A93-B884-A8CB8538E3BA}">
      <dgm:prSet phldrT="[Text]"/>
      <dgm:spPr/>
      <dgm:t>
        <a:bodyPr/>
        <a:lstStyle/>
        <a:p>
          <a:pPr rtl="1"/>
          <a:r>
            <a:rPr lang="en-US" dirty="0" smtClean="0"/>
            <a:t>Demography</a:t>
          </a:r>
          <a:endParaRPr lang="he-IL" dirty="0"/>
        </a:p>
      </dgm:t>
    </dgm:pt>
    <dgm:pt modelId="{CE54123D-2D08-4F05-B67D-F9EEAB8332C9}" type="sibTrans" cxnId="{5821D777-A8FF-42BF-AF58-F14400F75AEC}">
      <dgm:prSet/>
      <dgm:spPr/>
      <dgm:t>
        <a:bodyPr/>
        <a:lstStyle/>
        <a:p>
          <a:pPr rtl="1"/>
          <a:endParaRPr lang="he-IL"/>
        </a:p>
      </dgm:t>
    </dgm:pt>
    <dgm:pt modelId="{FFA571E0-811F-421A-AA2D-D95B40B2A68A}" type="parTrans" cxnId="{5821D777-A8FF-42BF-AF58-F14400F75AEC}">
      <dgm:prSet/>
      <dgm:spPr/>
      <dgm:t>
        <a:bodyPr/>
        <a:lstStyle/>
        <a:p>
          <a:pPr rtl="1"/>
          <a:endParaRPr lang="he-IL"/>
        </a:p>
      </dgm:t>
    </dgm:pt>
    <dgm:pt modelId="{E520966F-830C-433E-9A50-FB6F6846BC44}">
      <dgm:prSet phldrT="[Text]"/>
      <dgm:spPr/>
      <dgm:t>
        <a:bodyPr/>
        <a:lstStyle/>
        <a:p>
          <a:pPr rtl="1"/>
          <a:endParaRPr lang="he-IL" dirty="0"/>
        </a:p>
      </dgm:t>
    </dgm:pt>
    <dgm:pt modelId="{5A5AC453-AACE-4753-9087-3219B5F05CB5}" type="sibTrans" cxnId="{CCF43B34-28B0-491F-A4AB-7685CA889B9B}">
      <dgm:prSet/>
      <dgm:spPr/>
      <dgm:t>
        <a:bodyPr/>
        <a:lstStyle/>
        <a:p>
          <a:pPr rtl="1"/>
          <a:endParaRPr lang="he-IL"/>
        </a:p>
      </dgm:t>
    </dgm:pt>
    <dgm:pt modelId="{C9310D28-1A71-4C09-B78E-B7E2FB8086DB}" type="parTrans" cxnId="{CCF43B34-28B0-491F-A4AB-7685CA889B9B}">
      <dgm:prSet/>
      <dgm:spPr/>
      <dgm:t>
        <a:bodyPr/>
        <a:lstStyle/>
        <a:p>
          <a:pPr rtl="1"/>
          <a:endParaRPr lang="he-IL"/>
        </a:p>
      </dgm:t>
    </dgm:pt>
    <dgm:pt modelId="{61139A06-3B0E-47AC-B9F6-374B63BAE47C}" type="pres">
      <dgm:prSet presAssocID="{3B21B2A4-7B3C-42B3-8069-15A593BA0AC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rtl="1"/>
          <a:endParaRPr lang="he-IL"/>
        </a:p>
      </dgm:t>
    </dgm:pt>
    <dgm:pt modelId="{CF4FA528-8E07-4256-91F0-CA564EABA3C9}" type="pres">
      <dgm:prSet presAssocID="{85F47EAE-8496-4389-ADF3-3ED0CBD5939D}" presName="centerShape" presStyleLbl="node0" presStyleIdx="0" presStyleCnt="1"/>
      <dgm:spPr/>
      <dgm:t>
        <a:bodyPr/>
        <a:lstStyle/>
        <a:p>
          <a:pPr rtl="1"/>
          <a:endParaRPr lang="he-IL"/>
        </a:p>
      </dgm:t>
    </dgm:pt>
    <dgm:pt modelId="{FD8E2E9D-D6BB-482C-AC49-C8F0F938D98B}" type="pres">
      <dgm:prSet presAssocID="{C9310D28-1A71-4C09-B78E-B7E2FB8086DB}" presName="parTrans" presStyleLbl="sibTrans2D1" presStyleIdx="0" presStyleCnt="4"/>
      <dgm:spPr/>
      <dgm:t>
        <a:bodyPr/>
        <a:lstStyle/>
        <a:p>
          <a:pPr rtl="1"/>
          <a:endParaRPr lang="he-IL"/>
        </a:p>
      </dgm:t>
    </dgm:pt>
    <dgm:pt modelId="{1A845BFA-F3FE-47CE-B9F4-3CC42BD45597}" type="pres">
      <dgm:prSet presAssocID="{C9310D28-1A71-4C09-B78E-B7E2FB8086DB}" presName="connectorText" presStyleLbl="sibTrans2D1" presStyleIdx="0" presStyleCnt="4"/>
      <dgm:spPr/>
      <dgm:t>
        <a:bodyPr/>
        <a:lstStyle/>
        <a:p>
          <a:pPr rtl="1"/>
          <a:endParaRPr lang="he-IL"/>
        </a:p>
      </dgm:t>
    </dgm:pt>
    <dgm:pt modelId="{673FB63E-B211-48D8-A778-F39E0824A466}" type="pres">
      <dgm:prSet presAssocID="{E520966F-830C-433E-9A50-FB6F6846BC44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A1295EA3-2C2B-423C-94EC-39CD6C97B8EC}" type="pres">
      <dgm:prSet presAssocID="{05D50616-F471-4C03-B2E0-A0A0C5A623AD}" presName="parTrans" presStyleLbl="sibTrans2D1" presStyleIdx="1" presStyleCnt="4"/>
      <dgm:spPr/>
      <dgm:t>
        <a:bodyPr/>
        <a:lstStyle/>
        <a:p>
          <a:pPr rtl="1"/>
          <a:endParaRPr lang="he-IL"/>
        </a:p>
      </dgm:t>
    </dgm:pt>
    <dgm:pt modelId="{25526D55-73CD-4E49-B344-2D34A40C1E43}" type="pres">
      <dgm:prSet presAssocID="{05D50616-F471-4C03-B2E0-A0A0C5A623AD}" presName="connectorText" presStyleLbl="sibTrans2D1" presStyleIdx="1" presStyleCnt="4"/>
      <dgm:spPr/>
      <dgm:t>
        <a:bodyPr/>
        <a:lstStyle/>
        <a:p>
          <a:pPr rtl="1"/>
          <a:endParaRPr lang="he-IL"/>
        </a:p>
      </dgm:t>
    </dgm:pt>
    <dgm:pt modelId="{0DD002ED-F913-44A4-AA7F-792DBD7CFCB1}" type="pres">
      <dgm:prSet presAssocID="{158162CE-7801-4DE1-8982-8503CF9576FB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D636C3C9-B01F-4285-9613-C5A7ECF8389B}" type="pres">
      <dgm:prSet presAssocID="{730E62D3-3D49-4F87-8AE4-8DC760721A0B}" presName="parTrans" presStyleLbl="sibTrans2D1" presStyleIdx="2" presStyleCnt="4"/>
      <dgm:spPr/>
      <dgm:t>
        <a:bodyPr/>
        <a:lstStyle/>
        <a:p>
          <a:pPr rtl="1"/>
          <a:endParaRPr lang="he-IL"/>
        </a:p>
      </dgm:t>
    </dgm:pt>
    <dgm:pt modelId="{7495F5F4-34C0-4E85-95B8-94EACCAB852D}" type="pres">
      <dgm:prSet presAssocID="{730E62D3-3D49-4F87-8AE4-8DC760721A0B}" presName="connectorText" presStyleLbl="sibTrans2D1" presStyleIdx="2" presStyleCnt="4"/>
      <dgm:spPr/>
      <dgm:t>
        <a:bodyPr/>
        <a:lstStyle/>
        <a:p>
          <a:pPr rtl="1"/>
          <a:endParaRPr lang="he-IL"/>
        </a:p>
      </dgm:t>
    </dgm:pt>
    <dgm:pt modelId="{6FEE0992-CC20-4697-9157-D4C5313A2B1E}" type="pres">
      <dgm:prSet presAssocID="{F70FACCC-6E37-40A6-BC9B-4719B97CEA16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CC93AC72-F046-4065-B02B-B4DD5010BE79}" type="pres">
      <dgm:prSet presAssocID="{FFA571E0-811F-421A-AA2D-D95B40B2A68A}" presName="parTrans" presStyleLbl="sibTrans2D1" presStyleIdx="3" presStyleCnt="4"/>
      <dgm:spPr/>
      <dgm:t>
        <a:bodyPr/>
        <a:lstStyle/>
        <a:p>
          <a:pPr rtl="1"/>
          <a:endParaRPr lang="he-IL"/>
        </a:p>
      </dgm:t>
    </dgm:pt>
    <dgm:pt modelId="{6799E84F-CF82-4C64-BF53-03699925FE3E}" type="pres">
      <dgm:prSet presAssocID="{FFA571E0-811F-421A-AA2D-D95B40B2A68A}" presName="connectorText" presStyleLbl="sibTrans2D1" presStyleIdx="3" presStyleCnt="4"/>
      <dgm:spPr/>
      <dgm:t>
        <a:bodyPr/>
        <a:lstStyle/>
        <a:p>
          <a:pPr rtl="1"/>
          <a:endParaRPr lang="he-IL"/>
        </a:p>
      </dgm:t>
    </dgm:pt>
    <dgm:pt modelId="{CE759648-DA01-4409-BF9D-DFE7E1E050E8}" type="pres">
      <dgm:prSet presAssocID="{CC9B4EBA-F6CB-4A93-B884-A8CB8538E3BA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</dgm:ptLst>
  <dgm:cxnLst>
    <dgm:cxn modelId="{D4B93472-A135-49E4-8780-BA9DD2873F62}" type="presOf" srcId="{C9310D28-1A71-4C09-B78E-B7E2FB8086DB}" destId="{1A845BFA-F3FE-47CE-B9F4-3CC42BD45597}" srcOrd="1" destOrd="0" presId="urn:microsoft.com/office/officeart/2005/8/layout/radial5"/>
    <dgm:cxn modelId="{23FBA6AB-2C73-4520-9F92-81DA67E78495}" srcId="{85F47EAE-8496-4389-ADF3-3ED0CBD5939D}" destId="{158162CE-7801-4DE1-8982-8503CF9576FB}" srcOrd="1" destOrd="0" parTransId="{05D50616-F471-4C03-B2E0-A0A0C5A623AD}" sibTransId="{E135A1D0-E017-49C2-A06C-8BD5768E5AF0}"/>
    <dgm:cxn modelId="{A05E771C-DE39-4AD8-A6A5-7D4BF9092D1A}" srcId="{85F47EAE-8496-4389-ADF3-3ED0CBD5939D}" destId="{F70FACCC-6E37-40A6-BC9B-4719B97CEA16}" srcOrd="2" destOrd="0" parTransId="{730E62D3-3D49-4F87-8AE4-8DC760721A0B}" sibTransId="{6C5E86ED-FCDB-4DDB-A263-86C3E9223A56}"/>
    <dgm:cxn modelId="{B9B45C85-36EF-46B3-996E-0F39C4A0D715}" type="presOf" srcId="{730E62D3-3D49-4F87-8AE4-8DC760721A0B}" destId="{7495F5F4-34C0-4E85-95B8-94EACCAB852D}" srcOrd="1" destOrd="0" presId="urn:microsoft.com/office/officeart/2005/8/layout/radial5"/>
    <dgm:cxn modelId="{B1B39CF5-C8D3-4345-BB77-D3F6EAEE8BB7}" srcId="{3B21B2A4-7B3C-42B3-8069-15A593BA0AC2}" destId="{85F47EAE-8496-4389-ADF3-3ED0CBD5939D}" srcOrd="0" destOrd="0" parTransId="{1388C302-FDDF-40A6-9DE9-A5559D94E076}" sibTransId="{7A6DB251-8817-4F96-8B57-38556021317F}"/>
    <dgm:cxn modelId="{CCF43B34-28B0-491F-A4AB-7685CA889B9B}" srcId="{85F47EAE-8496-4389-ADF3-3ED0CBD5939D}" destId="{E520966F-830C-433E-9A50-FB6F6846BC44}" srcOrd="0" destOrd="0" parTransId="{C9310D28-1A71-4C09-B78E-B7E2FB8086DB}" sibTransId="{5A5AC453-AACE-4753-9087-3219B5F05CB5}"/>
    <dgm:cxn modelId="{8DB7AE42-4852-4707-8591-9ABF2BF35A67}" type="presOf" srcId="{05D50616-F471-4C03-B2E0-A0A0C5A623AD}" destId="{25526D55-73CD-4E49-B344-2D34A40C1E43}" srcOrd="1" destOrd="0" presId="urn:microsoft.com/office/officeart/2005/8/layout/radial5"/>
    <dgm:cxn modelId="{6B8EB135-26D6-4BAB-A5E6-BCC5CC35FE4D}" type="presOf" srcId="{05D50616-F471-4C03-B2E0-A0A0C5A623AD}" destId="{A1295EA3-2C2B-423C-94EC-39CD6C97B8EC}" srcOrd="0" destOrd="0" presId="urn:microsoft.com/office/officeart/2005/8/layout/radial5"/>
    <dgm:cxn modelId="{89C9F66E-07B9-45A3-84B0-484A1C29D3BA}" type="presOf" srcId="{3B21B2A4-7B3C-42B3-8069-15A593BA0AC2}" destId="{61139A06-3B0E-47AC-B9F6-374B63BAE47C}" srcOrd="0" destOrd="0" presId="urn:microsoft.com/office/officeart/2005/8/layout/radial5"/>
    <dgm:cxn modelId="{5821D777-A8FF-42BF-AF58-F14400F75AEC}" srcId="{85F47EAE-8496-4389-ADF3-3ED0CBD5939D}" destId="{CC9B4EBA-F6CB-4A93-B884-A8CB8538E3BA}" srcOrd="3" destOrd="0" parTransId="{FFA571E0-811F-421A-AA2D-D95B40B2A68A}" sibTransId="{CE54123D-2D08-4F05-B67D-F9EEAB8332C9}"/>
    <dgm:cxn modelId="{43A74A82-01D1-4737-9F97-C97BCFA6C956}" type="presOf" srcId="{F70FACCC-6E37-40A6-BC9B-4719B97CEA16}" destId="{6FEE0992-CC20-4697-9157-D4C5313A2B1E}" srcOrd="0" destOrd="0" presId="urn:microsoft.com/office/officeart/2005/8/layout/radial5"/>
    <dgm:cxn modelId="{D0B3CC0A-25AE-4215-8480-566EF5A0EAE3}" type="presOf" srcId="{730E62D3-3D49-4F87-8AE4-8DC760721A0B}" destId="{D636C3C9-B01F-4285-9613-C5A7ECF8389B}" srcOrd="0" destOrd="0" presId="urn:microsoft.com/office/officeart/2005/8/layout/radial5"/>
    <dgm:cxn modelId="{A2224D8D-A16F-4A27-BC3A-97C2EEBC95E9}" type="presOf" srcId="{C9310D28-1A71-4C09-B78E-B7E2FB8086DB}" destId="{FD8E2E9D-D6BB-482C-AC49-C8F0F938D98B}" srcOrd="0" destOrd="0" presId="urn:microsoft.com/office/officeart/2005/8/layout/radial5"/>
    <dgm:cxn modelId="{15206EFA-9CDB-4DE8-B074-A4C0E196C3C3}" type="presOf" srcId="{FFA571E0-811F-421A-AA2D-D95B40B2A68A}" destId="{6799E84F-CF82-4C64-BF53-03699925FE3E}" srcOrd="1" destOrd="0" presId="urn:microsoft.com/office/officeart/2005/8/layout/radial5"/>
    <dgm:cxn modelId="{9F6DEF0E-22D8-487D-96DA-5FE39F76476A}" type="presOf" srcId="{E520966F-830C-433E-9A50-FB6F6846BC44}" destId="{673FB63E-B211-48D8-A778-F39E0824A466}" srcOrd="0" destOrd="0" presId="urn:microsoft.com/office/officeart/2005/8/layout/radial5"/>
    <dgm:cxn modelId="{270B9CE6-5F45-4451-98B2-A6AAD3AA4237}" type="presOf" srcId="{FFA571E0-811F-421A-AA2D-D95B40B2A68A}" destId="{CC93AC72-F046-4065-B02B-B4DD5010BE79}" srcOrd="0" destOrd="0" presId="urn:microsoft.com/office/officeart/2005/8/layout/radial5"/>
    <dgm:cxn modelId="{4A19242A-DC51-4A11-A890-6D756FED0135}" type="presOf" srcId="{158162CE-7801-4DE1-8982-8503CF9576FB}" destId="{0DD002ED-F913-44A4-AA7F-792DBD7CFCB1}" srcOrd="0" destOrd="0" presId="urn:microsoft.com/office/officeart/2005/8/layout/radial5"/>
    <dgm:cxn modelId="{F5454F4C-B7AB-411D-A328-3F4F173B82E5}" type="presOf" srcId="{CC9B4EBA-F6CB-4A93-B884-A8CB8538E3BA}" destId="{CE759648-DA01-4409-BF9D-DFE7E1E050E8}" srcOrd="0" destOrd="0" presId="urn:microsoft.com/office/officeart/2005/8/layout/radial5"/>
    <dgm:cxn modelId="{7FFDC5E0-F08B-42D0-A14C-0345EED40AF2}" type="presOf" srcId="{85F47EAE-8496-4389-ADF3-3ED0CBD5939D}" destId="{CF4FA528-8E07-4256-91F0-CA564EABA3C9}" srcOrd="0" destOrd="0" presId="urn:microsoft.com/office/officeart/2005/8/layout/radial5"/>
    <dgm:cxn modelId="{6D32CAFD-2C43-4EF7-87FD-F91A63B1D662}" type="presParOf" srcId="{61139A06-3B0E-47AC-B9F6-374B63BAE47C}" destId="{CF4FA528-8E07-4256-91F0-CA564EABA3C9}" srcOrd="0" destOrd="0" presId="urn:microsoft.com/office/officeart/2005/8/layout/radial5"/>
    <dgm:cxn modelId="{EB78DC77-A6CE-4C37-B0A9-3955BE4EF014}" type="presParOf" srcId="{61139A06-3B0E-47AC-B9F6-374B63BAE47C}" destId="{FD8E2E9D-D6BB-482C-AC49-C8F0F938D98B}" srcOrd="1" destOrd="0" presId="urn:microsoft.com/office/officeart/2005/8/layout/radial5"/>
    <dgm:cxn modelId="{1E72A4CC-EABB-4252-ACF5-E7644AC74147}" type="presParOf" srcId="{FD8E2E9D-D6BB-482C-AC49-C8F0F938D98B}" destId="{1A845BFA-F3FE-47CE-B9F4-3CC42BD45597}" srcOrd="0" destOrd="0" presId="urn:microsoft.com/office/officeart/2005/8/layout/radial5"/>
    <dgm:cxn modelId="{CF9C8D02-9570-4E24-B0EE-5C2FE60CADBF}" type="presParOf" srcId="{61139A06-3B0E-47AC-B9F6-374B63BAE47C}" destId="{673FB63E-B211-48D8-A778-F39E0824A466}" srcOrd="2" destOrd="0" presId="urn:microsoft.com/office/officeart/2005/8/layout/radial5"/>
    <dgm:cxn modelId="{A709B435-4D07-4F39-A193-2A033288BE6F}" type="presParOf" srcId="{61139A06-3B0E-47AC-B9F6-374B63BAE47C}" destId="{A1295EA3-2C2B-423C-94EC-39CD6C97B8EC}" srcOrd="3" destOrd="0" presId="urn:microsoft.com/office/officeart/2005/8/layout/radial5"/>
    <dgm:cxn modelId="{78EF7F0B-79C9-4B38-9AD4-FCD5B3EC54A8}" type="presParOf" srcId="{A1295EA3-2C2B-423C-94EC-39CD6C97B8EC}" destId="{25526D55-73CD-4E49-B344-2D34A40C1E43}" srcOrd="0" destOrd="0" presId="urn:microsoft.com/office/officeart/2005/8/layout/radial5"/>
    <dgm:cxn modelId="{CD92CD47-01EE-48E1-957E-E60015FC160E}" type="presParOf" srcId="{61139A06-3B0E-47AC-B9F6-374B63BAE47C}" destId="{0DD002ED-F913-44A4-AA7F-792DBD7CFCB1}" srcOrd="4" destOrd="0" presId="urn:microsoft.com/office/officeart/2005/8/layout/radial5"/>
    <dgm:cxn modelId="{06C30A97-BD48-4D81-9588-FB3FD06667E1}" type="presParOf" srcId="{61139A06-3B0E-47AC-B9F6-374B63BAE47C}" destId="{D636C3C9-B01F-4285-9613-C5A7ECF8389B}" srcOrd="5" destOrd="0" presId="urn:microsoft.com/office/officeart/2005/8/layout/radial5"/>
    <dgm:cxn modelId="{61B8A45E-60A2-4BD0-897F-33DEDD849995}" type="presParOf" srcId="{D636C3C9-B01F-4285-9613-C5A7ECF8389B}" destId="{7495F5F4-34C0-4E85-95B8-94EACCAB852D}" srcOrd="0" destOrd="0" presId="urn:microsoft.com/office/officeart/2005/8/layout/radial5"/>
    <dgm:cxn modelId="{4D4A6891-B783-4F3F-BA8B-6FDFF4BDC401}" type="presParOf" srcId="{61139A06-3B0E-47AC-B9F6-374B63BAE47C}" destId="{6FEE0992-CC20-4697-9157-D4C5313A2B1E}" srcOrd="6" destOrd="0" presId="urn:microsoft.com/office/officeart/2005/8/layout/radial5"/>
    <dgm:cxn modelId="{AFC62E55-AEF2-4460-9E0E-FF18C0AFF959}" type="presParOf" srcId="{61139A06-3B0E-47AC-B9F6-374B63BAE47C}" destId="{CC93AC72-F046-4065-B02B-B4DD5010BE79}" srcOrd="7" destOrd="0" presId="urn:microsoft.com/office/officeart/2005/8/layout/radial5"/>
    <dgm:cxn modelId="{1CBC0DD5-0169-4C70-A06D-54EBD15A1605}" type="presParOf" srcId="{CC93AC72-F046-4065-B02B-B4DD5010BE79}" destId="{6799E84F-CF82-4C64-BF53-03699925FE3E}" srcOrd="0" destOrd="0" presId="urn:microsoft.com/office/officeart/2005/8/layout/radial5"/>
    <dgm:cxn modelId="{3353C413-CFA7-48ED-9586-AD8B0C1EAA50}" type="presParOf" srcId="{61139A06-3B0E-47AC-B9F6-374B63BAE47C}" destId="{CE759648-DA01-4409-BF9D-DFE7E1E050E8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3B21B2A4-7B3C-42B3-8069-15A593BA0AC2}" type="doc">
      <dgm:prSet loTypeId="urn:microsoft.com/office/officeart/2005/8/layout/radial5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pPr rtl="1"/>
          <a:endParaRPr lang="he-IL"/>
        </a:p>
      </dgm:t>
    </dgm:pt>
    <dgm:pt modelId="{85F47EAE-8496-4389-ADF3-3ED0CBD5939D}">
      <dgm:prSet phldrT="[Text]"/>
      <dgm:spPr/>
      <dgm:t>
        <a:bodyPr/>
        <a:lstStyle/>
        <a:p>
          <a:pPr rtl="1"/>
          <a:r>
            <a:rPr lang="en-US" dirty="0" smtClean="0"/>
            <a:t>Rainfall</a:t>
          </a:r>
          <a:endParaRPr lang="he-IL" dirty="0"/>
        </a:p>
      </dgm:t>
    </dgm:pt>
    <dgm:pt modelId="{1388C302-FDDF-40A6-9DE9-A5559D94E076}" type="parTrans" cxnId="{B1B39CF5-C8D3-4345-BB77-D3F6EAEE8BB7}">
      <dgm:prSet/>
      <dgm:spPr/>
      <dgm:t>
        <a:bodyPr/>
        <a:lstStyle/>
        <a:p>
          <a:pPr rtl="1"/>
          <a:endParaRPr lang="he-IL"/>
        </a:p>
      </dgm:t>
    </dgm:pt>
    <dgm:pt modelId="{7A6DB251-8817-4F96-8B57-38556021317F}" type="sibTrans" cxnId="{B1B39CF5-C8D3-4345-BB77-D3F6EAEE8BB7}">
      <dgm:prSet/>
      <dgm:spPr/>
      <dgm:t>
        <a:bodyPr/>
        <a:lstStyle/>
        <a:p>
          <a:pPr rtl="1"/>
          <a:endParaRPr lang="he-IL"/>
        </a:p>
      </dgm:t>
    </dgm:pt>
    <dgm:pt modelId="{E520966F-830C-433E-9A50-FB6F6846BC44}">
      <dgm:prSet phldrT="[Text]"/>
      <dgm:spPr/>
      <dgm:t>
        <a:bodyPr/>
        <a:lstStyle/>
        <a:p>
          <a:pPr rtl="1"/>
          <a:endParaRPr lang="he-IL" dirty="0"/>
        </a:p>
      </dgm:t>
    </dgm:pt>
    <dgm:pt modelId="{C9310D28-1A71-4C09-B78E-B7E2FB8086DB}" type="parTrans" cxnId="{CCF43B34-28B0-491F-A4AB-7685CA889B9B}">
      <dgm:prSet/>
      <dgm:spPr/>
      <dgm:t>
        <a:bodyPr/>
        <a:lstStyle/>
        <a:p>
          <a:pPr rtl="1"/>
          <a:endParaRPr lang="he-IL"/>
        </a:p>
      </dgm:t>
    </dgm:pt>
    <dgm:pt modelId="{5A5AC453-AACE-4753-9087-3219B5F05CB5}" type="sibTrans" cxnId="{CCF43B34-28B0-491F-A4AB-7685CA889B9B}">
      <dgm:prSet/>
      <dgm:spPr/>
      <dgm:t>
        <a:bodyPr/>
        <a:lstStyle/>
        <a:p>
          <a:pPr rtl="1"/>
          <a:endParaRPr lang="he-IL"/>
        </a:p>
      </dgm:t>
    </dgm:pt>
    <dgm:pt modelId="{158162CE-7801-4DE1-8982-8503CF9576FB}">
      <dgm:prSet phldrT="[Text]"/>
      <dgm:spPr/>
      <dgm:t>
        <a:bodyPr/>
        <a:lstStyle/>
        <a:p>
          <a:pPr rtl="1"/>
          <a:r>
            <a:rPr lang="en-US" dirty="0" smtClean="0"/>
            <a:t>Barometrical</a:t>
          </a:r>
          <a:endParaRPr lang="he-IL" dirty="0"/>
        </a:p>
      </dgm:t>
    </dgm:pt>
    <dgm:pt modelId="{05D50616-F471-4C03-B2E0-A0A0C5A623AD}" type="parTrans" cxnId="{23FBA6AB-2C73-4520-9F92-81DA67E78495}">
      <dgm:prSet/>
      <dgm:spPr/>
      <dgm:t>
        <a:bodyPr/>
        <a:lstStyle/>
        <a:p>
          <a:pPr rtl="1"/>
          <a:endParaRPr lang="he-IL"/>
        </a:p>
      </dgm:t>
    </dgm:pt>
    <dgm:pt modelId="{E135A1D0-E017-49C2-A06C-8BD5768E5AF0}" type="sibTrans" cxnId="{23FBA6AB-2C73-4520-9F92-81DA67E78495}">
      <dgm:prSet/>
      <dgm:spPr/>
      <dgm:t>
        <a:bodyPr/>
        <a:lstStyle/>
        <a:p>
          <a:pPr rtl="1"/>
          <a:endParaRPr lang="he-IL"/>
        </a:p>
      </dgm:t>
    </dgm:pt>
    <dgm:pt modelId="{F70FACCC-6E37-40A6-BC9B-4719B97CEA16}">
      <dgm:prSet phldrT="[Text]"/>
      <dgm:spPr/>
      <dgm:t>
        <a:bodyPr/>
        <a:lstStyle/>
        <a:p>
          <a:pPr rtl="1"/>
          <a:r>
            <a:rPr lang="en-US" dirty="0" smtClean="0"/>
            <a:t>Weather</a:t>
          </a:r>
          <a:endParaRPr lang="he-IL" dirty="0"/>
        </a:p>
      </dgm:t>
    </dgm:pt>
    <dgm:pt modelId="{730E62D3-3D49-4F87-8AE4-8DC760721A0B}" type="parTrans" cxnId="{A05E771C-DE39-4AD8-A6A5-7D4BF9092D1A}">
      <dgm:prSet/>
      <dgm:spPr/>
      <dgm:t>
        <a:bodyPr/>
        <a:lstStyle/>
        <a:p>
          <a:pPr rtl="1"/>
          <a:endParaRPr lang="he-IL"/>
        </a:p>
      </dgm:t>
    </dgm:pt>
    <dgm:pt modelId="{6C5E86ED-FCDB-4DDB-A263-86C3E9223A56}" type="sibTrans" cxnId="{A05E771C-DE39-4AD8-A6A5-7D4BF9092D1A}">
      <dgm:prSet/>
      <dgm:spPr/>
      <dgm:t>
        <a:bodyPr/>
        <a:lstStyle/>
        <a:p>
          <a:pPr rtl="1"/>
          <a:endParaRPr lang="he-IL"/>
        </a:p>
      </dgm:t>
    </dgm:pt>
    <dgm:pt modelId="{CC9B4EBA-F6CB-4A93-B884-A8CB8538E3BA}">
      <dgm:prSet phldrT="[Text]"/>
      <dgm:spPr/>
      <dgm:t>
        <a:bodyPr/>
        <a:lstStyle/>
        <a:p>
          <a:pPr rtl="1"/>
          <a:r>
            <a:rPr lang="en-US" dirty="0" smtClean="0"/>
            <a:t>Time</a:t>
          </a:r>
          <a:endParaRPr lang="he-IL" dirty="0"/>
        </a:p>
      </dgm:t>
    </dgm:pt>
    <dgm:pt modelId="{FFA571E0-811F-421A-AA2D-D95B40B2A68A}" type="parTrans" cxnId="{5821D777-A8FF-42BF-AF58-F14400F75AEC}">
      <dgm:prSet/>
      <dgm:spPr/>
      <dgm:t>
        <a:bodyPr/>
        <a:lstStyle/>
        <a:p>
          <a:pPr rtl="1"/>
          <a:endParaRPr lang="he-IL"/>
        </a:p>
      </dgm:t>
    </dgm:pt>
    <dgm:pt modelId="{CE54123D-2D08-4F05-B67D-F9EEAB8332C9}" type="sibTrans" cxnId="{5821D777-A8FF-42BF-AF58-F14400F75AEC}">
      <dgm:prSet/>
      <dgm:spPr/>
      <dgm:t>
        <a:bodyPr/>
        <a:lstStyle/>
        <a:p>
          <a:pPr rtl="1"/>
          <a:endParaRPr lang="he-IL"/>
        </a:p>
      </dgm:t>
    </dgm:pt>
    <dgm:pt modelId="{61139A06-3B0E-47AC-B9F6-374B63BAE47C}" type="pres">
      <dgm:prSet presAssocID="{3B21B2A4-7B3C-42B3-8069-15A593BA0AC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rtl="1"/>
          <a:endParaRPr lang="he-IL"/>
        </a:p>
      </dgm:t>
    </dgm:pt>
    <dgm:pt modelId="{CF4FA528-8E07-4256-91F0-CA564EABA3C9}" type="pres">
      <dgm:prSet presAssocID="{85F47EAE-8496-4389-ADF3-3ED0CBD5939D}" presName="centerShape" presStyleLbl="node0" presStyleIdx="0" presStyleCnt="1"/>
      <dgm:spPr/>
      <dgm:t>
        <a:bodyPr/>
        <a:lstStyle/>
        <a:p>
          <a:pPr rtl="1"/>
          <a:endParaRPr lang="he-IL"/>
        </a:p>
      </dgm:t>
    </dgm:pt>
    <dgm:pt modelId="{FD8E2E9D-D6BB-482C-AC49-C8F0F938D98B}" type="pres">
      <dgm:prSet presAssocID="{C9310D28-1A71-4C09-B78E-B7E2FB8086DB}" presName="parTrans" presStyleLbl="sibTrans2D1" presStyleIdx="0" presStyleCnt="4"/>
      <dgm:spPr/>
      <dgm:t>
        <a:bodyPr/>
        <a:lstStyle/>
        <a:p>
          <a:pPr rtl="1"/>
          <a:endParaRPr lang="he-IL"/>
        </a:p>
      </dgm:t>
    </dgm:pt>
    <dgm:pt modelId="{1A845BFA-F3FE-47CE-B9F4-3CC42BD45597}" type="pres">
      <dgm:prSet presAssocID="{C9310D28-1A71-4C09-B78E-B7E2FB8086DB}" presName="connectorText" presStyleLbl="sibTrans2D1" presStyleIdx="0" presStyleCnt="4"/>
      <dgm:spPr/>
      <dgm:t>
        <a:bodyPr/>
        <a:lstStyle/>
        <a:p>
          <a:pPr rtl="1"/>
          <a:endParaRPr lang="he-IL"/>
        </a:p>
      </dgm:t>
    </dgm:pt>
    <dgm:pt modelId="{673FB63E-B211-48D8-A778-F39E0824A466}" type="pres">
      <dgm:prSet presAssocID="{E520966F-830C-433E-9A50-FB6F6846BC44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A1295EA3-2C2B-423C-94EC-39CD6C97B8EC}" type="pres">
      <dgm:prSet presAssocID="{05D50616-F471-4C03-B2E0-A0A0C5A623AD}" presName="parTrans" presStyleLbl="sibTrans2D1" presStyleIdx="1" presStyleCnt="4"/>
      <dgm:spPr/>
      <dgm:t>
        <a:bodyPr/>
        <a:lstStyle/>
        <a:p>
          <a:pPr rtl="1"/>
          <a:endParaRPr lang="he-IL"/>
        </a:p>
      </dgm:t>
    </dgm:pt>
    <dgm:pt modelId="{25526D55-73CD-4E49-B344-2D34A40C1E43}" type="pres">
      <dgm:prSet presAssocID="{05D50616-F471-4C03-B2E0-A0A0C5A623AD}" presName="connectorText" presStyleLbl="sibTrans2D1" presStyleIdx="1" presStyleCnt="4"/>
      <dgm:spPr/>
      <dgm:t>
        <a:bodyPr/>
        <a:lstStyle/>
        <a:p>
          <a:pPr rtl="1"/>
          <a:endParaRPr lang="he-IL"/>
        </a:p>
      </dgm:t>
    </dgm:pt>
    <dgm:pt modelId="{0DD002ED-F913-44A4-AA7F-792DBD7CFCB1}" type="pres">
      <dgm:prSet presAssocID="{158162CE-7801-4DE1-8982-8503CF9576FB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D636C3C9-B01F-4285-9613-C5A7ECF8389B}" type="pres">
      <dgm:prSet presAssocID="{730E62D3-3D49-4F87-8AE4-8DC760721A0B}" presName="parTrans" presStyleLbl="sibTrans2D1" presStyleIdx="2" presStyleCnt="4"/>
      <dgm:spPr/>
      <dgm:t>
        <a:bodyPr/>
        <a:lstStyle/>
        <a:p>
          <a:pPr rtl="1"/>
          <a:endParaRPr lang="he-IL"/>
        </a:p>
      </dgm:t>
    </dgm:pt>
    <dgm:pt modelId="{7495F5F4-34C0-4E85-95B8-94EACCAB852D}" type="pres">
      <dgm:prSet presAssocID="{730E62D3-3D49-4F87-8AE4-8DC760721A0B}" presName="connectorText" presStyleLbl="sibTrans2D1" presStyleIdx="2" presStyleCnt="4"/>
      <dgm:spPr/>
      <dgm:t>
        <a:bodyPr/>
        <a:lstStyle/>
        <a:p>
          <a:pPr rtl="1"/>
          <a:endParaRPr lang="he-IL"/>
        </a:p>
      </dgm:t>
    </dgm:pt>
    <dgm:pt modelId="{6FEE0992-CC20-4697-9157-D4C5313A2B1E}" type="pres">
      <dgm:prSet presAssocID="{F70FACCC-6E37-40A6-BC9B-4719B97CEA16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CC93AC72-F046-4065-B02B-B4DD5010BE79}" type="pres">
      <dgm:prSet presAssocID="{FFA571E0-811F-421A-AA2D-D95B40B2A68A}" presName="parTrans" presStyleLbl="sibTrans2D1" presStyleIdx="3" presStyleCnt="4"/>
      <dgm:spPr/>
      <dgm:t>
        <a:bodyPr/>
        <a:lstStyle/>
        <a:p>
          <a:pPr rtl="1"/>
          <a:endParaRPr lang="he-IL"/>
        </a:p>
      </dgm:t>
    </dgm:pt>
    <dgm:pt modelId="{6799E84F-CF82-4C64-BF53-03699925FE3E}" type="pres">
      <dgm:prSet presAssocID="{FFA571E0-811F-421A-AA2D-D95B40B2A68A}" presName="connectorText" presStyleLbl="sibTrans2D1" presStyleIdx="3" presStyleCnt="4"/>
      <dgm:spPr/>
      <dgm:t>
        <a:bodyPr/>
        <a:lstStyle/>
        <a:p>
          <a:pPr rtl="1"/>
          <a:endParaRPr lang="he-IL"/>
        </a:p>
      </dgm:t>
    </dgm:pt>
    <dgm:pt modelId="{CE759648-DA01-4409-BF9D-DFE7E1E050E8}" type="pres">
      <dgm:prSet presAssocID="{CC9B4EBA-F6CB-4A93-B884-A8CB8538E3BA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</dgm:ptLst>
  <dgm:cxnLst>
    <dgm:cxn modelId="{B1B39CF5-C8D3-4345-BB77-D3F6EAEE8BB7}" srcId="{3B21B2A4-7B3C-42B3-8069-15A593BA0AC2}" destId="{85F47EAE-8496-4389-ADF3-3ED0CBD5939D}" srcOrd="0" destOrd="0" parTransId="{1388C302-FDDF-40A6-9DE9-A5559D94E076}" sibTransId="{7A6DB251-8817-4F96-8B57-38556021317F}"/>
    <dgm:cxn modelId="{67DCD27B-C123-4D27-9136-AE1ADA8AEC40}" type="presOf" srcId="{E520966F-830C-433E-9A50-FB6F6846BC44}" destId="{673FB63E-B211-48D8-A778-F39E0824A466}" srcOrd="0" destOrd="0" presId="urn:microsoft.com/office/officeart/2005/8/layout/radial5"/>
    <dgm:cxn modelId="{23FBA6AB-2C73-4520-9F92-81DA67E78495}" srcId="{85F47EAE-8496-4389-ADF3-3ED0CBD5939D}" destId="{158162CE-7801-4DE1-8982-8503CF9576FB}" srcOrd="1" destOrd="0" parTransId="{05D50616-F471-4C03-B2E0-A0A0C5A623AD}" sibTransId="{E135A1D0-E017-49C2-A06C-8BD5768E5AF0}"/>
    <dgm:cxn modelId="{A05E771C-DE39-4AD8-A6A5-7D4BF9092D1A}" srcId="{85F47EAE-8496-4389-ADF3-3ED0CBD5939D}" destId="{F70FACCC-6E37-40A6-BC9B-4719B97CEA16}" srcOrd="2" destOrd="0" parTransId="{730E62D3-3D49-4F87-8AE4-8DC760721A0B}" sibTransId="{6C5E86ED-FCDB-4DDB-A263-86C3E9223A56}"/>
    <dgm:cxn modelId="{85F9D542-6427-4A14-9367-AC55AC51F2A5}" type="presOf" srcId="{730E62D3-3D49-4F87-8AE4-8DC760721A0B}" destId="{7495F5F4-34C0-4E85-95B8-94EACCAB852D}" srcOrd="1" destOrd="0" presId="urn:microsoft.com/office/officeart/2005/8/layout/radial5"/>
    <dgm:cxn modelId="{612574C1-953B-4C40-AB94-A213DF9E945D}" type="presOf" srcId="{C9310D28-1A71-4C09-B78E-B7E2FB8086DB}" destId="{FD8E2E9D-D6BB-482C-AC49-C8F0F938D98B}" srcOrd="0" destOrd="0" presId="urn:microsoft.com/office/officeart/2005/8/layout/radial5"/>
    <dgm:cxn modelId="{0D6CB2B9-534C-4947-8097-EF0956976CEE}" type="presOf" srcId="{05D50616-F471-4C03-B2E0-A0A0C5A623AD}" destId="{25526D55-73CD-4E49-B344-2D34A40C1E43}" srcOrd="1" destOrd="0" presId="urn:microsoft.com/office/officeart/2005/8/layout/radial5"/>
    <dgm:cxn modelId="{32767A58-85BE-4026-AF40-C632AF292AC0}" type="presOf" srcId="{158162CE-7801-4DE1-8982-8503CF9576FB}" destId="{0DD002ED-F913-44A4-AA7F-792DBD7CFCB1}" srcOrd="0" destOrd="0" presId="urn:microsoft.com/office/officeart/2005/8/layout/radial5"/>
    <dgm:cxn modelId="{E4AA55AD-956C-43D7-B223-97BC974DB037}" type="presOf" srcId="{CC9B4EBA-F6CB-4A93-B884-A8CB8538E3BA}" destId="{CE759648-DA01-4409-BF9D-DFE7E1E050E8}" srcOrd="0" destOrd="0" presId="urn:microsoft.com/office/officeart/2005/8/layout/radial5"/>
    <dgm:cxn modelId="{6AD25FCF-07CC-4AD4-A49E-6F5C02A6359C}" type="presOf" srcId="{730E62D3-3D49-4F87-8AE4-8DC760721A0B}" destId="{D636C3C9-B01F-4285-9613-C5A7ECF8389B}" srcOrd="0" destOrd="0" presId="urn:microsoft.com/office/officeart/2005/8/layout/radial5"/>
    <dgm:cxn modelId="{EDC4E98C-70C0-4000-BE98-59601E225B86}" type="presOf" srcId="{85F47EAE-8496-4389-ADF3-3ED0CBD5939D}" destId="{CF4FA528-8E07-4256-91F0-CA564EABA3C9}" srcOrd="0" destOrd="0" presId="urn:microsoft.com/office/officeart/2005/8/layout/radial5"/>
    <dgm:cxn modelId="{5821D777-A8FF-42BF-AF58-F14400F75AEC}" srcId="{85F47EAE-8496-4389-ADF3-3ED0CBD5939D}" destId="{CC9B4EBA-F6CB-4A93-B884-A8CB8538E3BA}" srcOrd="3" destOrd="0" parTransId="{FFA571E0-811F-421A-AA2D-D95B40B2A68A}" sibTransId="{CE54123D-2D08-4F05-B67D-F9EEAB8332C9}"/>
    <dgm:cxn modelId="{5373A0CC-E4CE-4337-8959-F768791CD2C9}" type="presOf" srcId="{FFA571E0-811F-421A-AA2D-D95B40B2A68A}" destId="{CC93AC72-F046-4065-B02B-B4DD5010BE79}" srcOrd="0" destOrd="0" presId="urn:microsoft.com/office/officeart/2005/8/layout/radial5"/>
    <dgm:cxn modelId="{F87241FE-F1C5-4466-8B11-139E283F430D}" type="presOf" srcId="{05D50616-F471-4C03-B2E0-A0A0C5A623AD}" destId="{A1295EA3-2C2B-423C-94EC-39CD6C97B8EC}" srcOrd="0" destOrd="0" presId="urn:microsoft.com/office/officeart/2005/8/layout/radial5"/>
    <dgm:cxn modelId="{FC41B75D-067C-4647-8550-2031C9934528}" type="presOf" srcId="{C9310D28-1A71-4C09-B78E-B7E2FB8086DB}" destId="{1A845BFA-F3FE-47CE-B9F4-3CC42BD45597}" srcOrd="1" destOrd="0" presId="urn:microsoft.com/office/officeart/2005/8/layout/radial5"/>
    <dgm:cxn modelId="{CCF43B34-28B0-491F-A4AB-7685CA889B9B}" srcId="{85F47EAE-8496-4389-ADF3-3ED0CBD5939D}" destId="{E520966F-830C-433E-9A50-FB6F6846BC44}" srcOrd="0" destOrd="0" parTransId="{C9310D28-1A71-4C09-B78E-B7E2FB8086DB}" sibTransId="{5A5AC453-AACE-4753-9087-3219B5F05CB5}"/>
    <dgm:cxn modelId="{7AC1A2F0-2E48-4306-9AE4-DE51798F5EC5}" type="presOf" srcId="{FFA571E0-811F-421A-AA2D-D95B40B2A68A}" destId="{6799E84F-CF82-4C64-BF53-03699925FE3E}" srcOrd="1" destOrd="0" presId="urn:microsoft.com/office/officeart/2005/8/layout/radial5"/>
    <dgm:cxn modelId="{0940D503-ABEA-41CA-B1B7-EA2915C360CA}" type="presOf" srcId="{F70FACCC-6E37-40A6-BC9B-4719B97CEA16}" destId="{6FEE0992-CC20-4697-9157-D4C5313A2B1E}" srcOrd="0" destOrd="0" presId="urn:microsoft.com/office/officeart/2005/8/layout/radial5"/>
    <dgm:cxn modelId="{FEC5DC33-39C7-4150-8E8D-10F05A2D659B}" type="presOf" srcId="{3B21B2A4-7B3C-42B3-8069-15A593BA0AC2}" destId="{61139A06-3B0E-47AC-B9F6-374B63BAE47C}" srcOrd="0" destOrd="0" presId="urn:microsoft.com/office/officeart/2005/8/layout/radial5"/>
    <dgm:cxn modelId="{0A6A83AE-8918-481C-B2DA-896D207560B0}" type="presParOf" srcId="{61139A06-3B0E-47AC-B9F6-374B63BAE47C}" destId="{CF4FA528-8E07-4256-91F0-CA564EABA3C9}" srcOrd="0" destOrd="0" presId="urn:microsoft.com/office/officeart/2005/8/layout/radial5"/>
    <dgm:cxn modelId="{95CBE489-2F59-4942-8591-CFA70ECE347E}" type="presParOf" srcId="{61139A06-3B0E-47AC-B9F6-374B63BAE47C}" destId="{FD8E2E9D-D6BB-482C-AC49-C8F0F938D98B}" srcOrd="1" destOrd="0" presId="urn:microsoft.com/office/officeart/2005/8/layout/radial5"/>
    <dgm:cxn modelId="{61BC8767-F207-4091-8538-22E189023BD8}" type="presParOf" srcId="{FD8E2E9D-D6BB-482C-AC49-C8F0F938D98B}" destId="{1A845BFA-F3FE-47CE-B9F4-3CC42BD45597}" srcOrd="0" destOrd="0" presId="urn:microsoft.com/office/officeart/2005/8/layout/radial5"/>
    <dgm:cxn modelId="{362F7C54-A709-4CDF-BBB6-D02986B530C4}" type="presParOf" srcId="{61139A06-3B0E-47AC-B9F6-374B63BAE47C}" destId="{673FB63E-B211-48D8-A778-F39E0824A466}" srcOrd="2" destOrd="0" presId="urn:microsoft.com/office/officeart/2005/8/layout/radial5"/>
    <dgm:cxn modelId="{86D611B2-033C-457C-886A-2650B2DFAA2A}" type="presParOf" srcId="{61139A06-3B0E-47AC-B9F6-374B63BAE47C}" destId="{A1295EA3-2C2B-423C-94EC-39CD6C97B8EC}" srcOrd="3" destOrd="0" presId="urn:microsoft.com/office/officeart/2005/8/layout/radial5"/>
    <dgm:cxn modelId="{9E6BE32B-4A0F-494E-8733-101F1030DE23}" type="presParOf" srcId="{A1295EA3-2C2B-423C-94EC-39CD6C97B8EC}" destId="{25526D55-73CD-4E49-B344-2D34A40C1E43}" srcOrd="0" destOrd="0" presId="urn:microsoft.com/office/officeart/2005/8/layout/radial5"/>
    <dgm:cxn modelId="{DB91112A-760C-450B-952C-7ADA70F1E7EF}" type="presParOf" srcId="{61139A06-3B0E-47AC-B9F6-374B63BAE47C}" destId="{0DD002ED-F913-44A4-AA7F-792DBD7CFCB1}" srcOrd="4" destOrd="0" presId="urn:microsoft.com/office/officeart/2005/8/layout/radial5"/>
    <dgm:cxn modelId="{66E1BC9C-8043-4D01-980E-20AAC9BEE545}" type="presParOf" srcId="{61139A06-3B0E-47AC-B9F6-374B63BAE47C}" destId="{D636C3C9-B01F-4285-9613-C5A7ECF8389B}" srcOrd="5" destOrd="0" presId="urn:microsoft.com/office/officeart/2005/8/layout/radial5"/>
    <dgm:cxn modelId="{F7941D41-14BF-4F16-96BD-A101D1479FC6}" type="presParOf" srcId="{D636C3C9-B01F-4285-9613-C5A7ECF8389B}" destId="{7495F5F4-34C0-4E85-95B8-94EACCAB852D}" srcOrd="0" destOrd="0" presId="urn:microsoft.com/office/officeart/2005/8/layout/radial5"/>
    <dgm:cxn modelId="{D0FD2BC5-1731-46B5-A869-AF52587A1042}" type="presParOf" srcId="{61139A06-3B0E-47AC-B9F6-374B63BAE47C}" destId="{6FEE0992-CC20-4697-9157-D4C5313A2B1E}" srcOrd="6" destOrd="0" presId="urn:microsoft.com/office/officeart/2005/8/layout/radial5"/>
    <dgm:cxn modelId="{CA457310-6D55-4297-BAFD-6AA0C08B17C9}" type="presParOf" srcId="{61139A06-3B0E-47AC-B9F6-374B63BAE47C}" destId="{CC93AC72-F046-4065-B02B-B4DD5010BE79}" srcOrd="7" destOrd="0" presId="urn:microsoft.com/office/officeart/2005/8/layout/radial5"/>
    <dgm:cxn modelId="{8CE83AA1-A0E6-43A0-8B53-287B5C95E1E2}" type="presParOf" srcId="{CC93AC72-F046-4065-B02B-B4DD5010BE79}" destId="{6799E84F-CF82-4C64-BF53-03699925FE3E}" srcOrd="0" destOrd="0" presId="urn:microsoft.com/office/officeart/2005/8/layout/radial5"/>
    <dgm:cxn modelId="{86F849E8-7A78-4A5A-9261-CA64E82A498C}" type="presParOf" srcId="{61139A06-3B0E-47AC-B9F6-374B63BAE47C}" destId="{CE759648-DA01-4409-BF9D-DFE7E1E050E8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3B21B2A4-7B3C-42B3-8069-15A593BA0AC2}" type="doc">
      <dgm:prSet loTypeId="urn:microsoft.com/office/officeart/2005/8/layout/radial5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pPr rtl="1"/>
          <a:endParaRPr lang="he-IL"/>
        </a:p>
      </dgm:t>
    </dgm:pt>
    <dgm:pt modelId="{85F47EAE-8496-4389-ADF3-3ED0CBD5939D}">
      <dgm:prSet phldrT="[Text]"/>
      <dgm:spPr/>
      <dgm:t>
        <a:bodyPr/>
        <a:lstStyle/>
        <a:p>
          <a:pPr rtl="0"/>
          <a:r>
            <a:rPr lang="en-US" dirty="0" smtClean="0"/>
            <a:t>Storm</a:t>
          </a:r>
          <a:endParaRPr lang="he-IL" dirty="0"/>
        </a:p>
      </dgm:t>
    </dgm:pt>
    <dgm:pt modelId="{1388C302-FDDF-40A6-9DE9-A5559D94E076}" type="parTrans" cxnId="{B1B39CF5-C8D3-4345-BB77-D3F6EAEE8BB7}">
      <dgm:prSet/>
      <dgm:spPr/>
      <dgm:t>
        <a:bodyPr/>
        <a:lstStyle/>
        <a:p>
          <a:pPr rtl="0"/>
          <a:endParaRPr lang="he-IL"/>
        </a:p>
      </dgm:t>
    </dgm:pt>
    <dgm:pt modelId="{7A6DB251-8817-4F96-8B57-38556021317F}" type="sibTrans" cxnId="{B1B39CF5-C8D3-4345-BB77-D3F6EAEE8BB7}">
      <dgm:prSet/>
      <dgm:spPr/>
      <dgm:t>
        <a:bodyPr/>
        <a:lstStyle/>
        <a:p>
          <a:pPr rtl="0"/>
          <a:endParaRPr lang="he-IL"/>
        </a:p>
      </dgm:t>
    </dgm:pt>
    <dgm:pt modelId="{E520966F-830C-433E-9A50-FB6F6846BC44}">
      <dgm:prSet phldrT="[Text]"/>
      <dgm:spPr/>
      <dgm:t>
        <a:bodyPr/>
        <a:lstStyle/>
        <a:p>
          <a:pPr rtl="0"/>
          <a:r>
            <a:rPr lang="en-US" dirty="0" smtClean="0"/>
            <a:t>Time</a:t>
          </a:r>
          <a:endParaRPr lang="he-IL" dirty="0"/>
        </a:p>
      </dgm:t>
    </dgm:pt>
    <dgm:pt modelId="{C9310D28-1A71-4C09-B78E-B7E2FB8086DB}" type="parTrans" cxnId="{CCF43B34-28B0-491F-A4AB-7685CA889B9B}">
      <dgm:prSet/>
      <dgm:spPr/>
      <dgm:t>
        <a:bodyPr/>
        <a:lstStyle/>
        <a:p>
          <a:pPr rtl="0"/>
          <a:endParaRPr lang="he-IL"/>
        </a:p>
      </dgm:t>
    </dgm:pt>
    <dgm:pt modelId="{5A5AC453-AACE-4753-9087-3219B5F05CB5}" type="sibTrans" cxnId="{CCF43B34-28B0-491F-A4AB-7685CA889B9B}">
      <dgm:prSet/>
      <dgm:spPr/>
      <dgm:t>
        <a:bodyPr/>
        <a:lstStyle/>
        <a:p>
          <a:pPr rtl="0"/>
          <a:endParaRPr lang="he-IL"/>
        </a:p>
      </dgm:t>
    </dgm:pt>
    <dgm:pt modelId="{158162CE-7801-4DE1-8982-8503CF9576FB}">
      <dgm:prSet phldrT="[Text]"/>
      <dgm:spPr/>
      <dgm:t>
        <a:bodyPr/>
        <a:lstStyle/>
        <a:p>
          <a:pPr rtl="0"/>
          <a:r>
            <a:rPr lang="en-US" dirty="0" smtClean="0"/>
            <a:t>Weather</a:t>
          </a:r>
          <a:endParaRPr lang="he-IL" dirty="0"/>
        </a:p>
      </dgm:t>
    </dgm:pt>
    <dgm:pt modelId="{05D50616-F471-4C03-B2E0-A0A0C5A623AD}" type="parTrans" cxnId="{23FBA6AB-2C73-4520-9F92-81DA67E78495}">
      <dgm:prSet/>
      <dgm:spPr/>
      <dgm:t>
        <a:bodyPr/>
        <a:lstStyle/>
        <a:p>
          <a:pPr rtl="0"/>
          <a:endParaRPr lang="he-IL"/>
        </a:p>
      </dgm:t>
    </dgm:pt>
    <dgm:pt modelId="{E135A1D0-E017-49C2-A06C-8BD5768E5AF0}" type="sibTrans" cxnId="{23FBA6AB-2C73-4520-9F92-81DA67E78495}">
      <dgm:prSet/>
      <dgm:spPr/>
      <dgm:t>
        <a:bodyPr/>
        <a:lstStyle/>
        <a:p>
          <a:pPr rtl="0"/>
          <a:endParaRPr lang="he-IL"/>
        </a:p>
      </dgm:t>
    </dgm:pt>
    <dgm:pt modelId="{F70FACCC-6E37-40A6-BC9B-4719B97CEA16}">
      <dgm:prSet phldrT="[Text]"/>
      <dgm:spPr/>
      <dgm:t>
        <a:bodyPr/>
        <a:lstStyle/>
        <a:p>
          <a:pPr rtl="0"/>
          <a:r>
            <a:rPr lang="en-US" dirty="0" smtClean="0"/>
            <a:t>Population</a:t>
          </a:r>
          <a:endParaRPr lang="he-IL" dirty="0"/>
        </a:p>
      </dgm:t>
    </dgm:pt>
    <dgm:pt modelId="{730E62D3-3D49-4F87-8AE4-8DC760721A0B}" type="parTrans" cxnId="{A05E771C-DE39-4AD8-A6A5-7D4BF9092D1A}">
      <dgm:prSet/>
      <dgm:spPr/>
      <dgm:t>
        <a:bodyPr/>
        <a:lstStyle/>
        <a:p>
          <a:pPr rtl="0"/>
          <a:endParaRPr lang="he-IL"/>
        </a:p>
      </dgm:t>
    </dgm:pt>
    <dgm:pt modelId="{6C5E86ED-FCDB-4DDB-A263-86C3E9223A56}" type="sibTrans" cxnId="{A05E771C-DE39-4AD8-A6A5-7D4BF9092D1A}">
      <dgm:prSet/>
      <dgm:spPr/>
      <dgm:t>
        <a:bodyPr/>
        <a:lstStyle/>
        <a:p>
          <a:pPr rtl="0"/>
          <a:endParaRPr lang="he-IL"/>
        </a:p>
      </dgm:t>
    </dgm:pt>
    <dgm:pt modelId="{CC9B4EBA-F6CB-4A93-B884-A8CB8538E3BA}">
      <dgm:prSet phldrT="[Text]"/>
      <dgm:spPr/>
      <dgm:t>
        <a:bodyPr/>
        <a:lstStyle/>
        <a:p>
          <a:pPr rtl="0"/>
          <a:r>
            <a:rPr lang="en-US" dirty="0" smtClean="0"/>
            <a:t>Location</a:t>
          </a:r>
          <a:endParaRPr lang="he-IL" dirty="0"/>
        </a:p>
      </dgm:t>
    </dgm:pt>
    <dgm:pt modelId="{FFA571E0-811F-421A-AA2D-D95B40B2A68A}" type="parTrans" cxnId="{5821D777-A8FF-42BF-AF58-F14400F75AEC}">
      <dgm:prSet/>
      <dgm:spPr/>
      <dgm:t>
        <a:bodyPr/>
        <a:lstStyle/>
        <a:p>
          <a:pPr rtl="0"/>
          <a:endParaRPr lang="he-IL"/>
        </a:p>
      </dgm:t>
    </dgm:pt>
    <dgm:pt modelId="{CE54123D-2D08-4F05-B67D-F9EEAB8332C9}" type="sibTrans" cxnId="{5821D777-A8FF-42BF-AF58-F14400F75AEC}">
      <dgm:prSet/>
      <dgm:spPr/>
      <dgm:t>
        <a:bodyPr/>
        <a:lstStyle/>
        <a:p>
          <a:pPr rtl="0"/>
          <a:endParaRPr lang="he-IL"/>
        </a:p>
      </dgm:t>
    </dgm:pt>
    <dgm:pt modelId="{61139A06-3B0E-47AC-B9F6-374B63BAE47C}" type="pres">
      <dgm:prSet presAssocID="{3B21B2A4-7B3C-42B3-8069-15A593BA0AC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pPr rtl="1"/>
          <a:endParaRPr lang="he-IL"/>
        </a:p>
      </dgm:t>
    </dgm:pt>
    <dgm:pt modelId="{CF4FA528-8E07-4256-91F0-CA564EABA3C9}" type="pres">
      <dgm:prSet presAssocID="{85F47EAE-8496-4389-ADF3-3ED0CBD5939D}" presName="centerShape" presStyleLbl="node0" presStyleIdx="0" presStyleCnt="1"/>
      <dgm:spPr/>
      <dgm:t>
        <a:bodyPr/>
        <a:lstStyle/>
        <a:p>
          <a:pPr rtl="1"/>
          <a:endParaRPr lang="he-IL"/>
        </a:p>
      </dgm:t>
    </dgm:pt>
    <dgm:pt modelId="{FD8E2E9D-D6BB-482C-AC49-C8F0F938D98B}" type="pres">
      <dgm:prSet presAssocID="{C9310D28-1A71-4C09-B78E-B7E2FB8086DB}" presName="parTrans" presStyleLbl="sibTrans2D1" presStyleIdx="0" presStyleCnt="4"/>
      <dgm:spPr/>
      <dgm:t>
        <a:bodyPr/>
        <a:lstStyle/>
        <a:p>
          <a:pPr rtl="1"/>
          <a:endParaRPr lang="he-IL"/>
        </a:p>
      </dgm:t>
    </dgm:pt>
    <dgm:pt modelId="{1A845BFA-F3FE-47CE-B9F4-3CC42BD45597}" type="pres">
      <dgm:prSet presAssocID="{C9310D28-1A71-4C09-B78E-B7E2FB8086DB}" presName="connectorText" presStyleLbl="sibTrans2D1" presStyleIdx="0" presStyleCnt="4"/>
      <dgm:spPr/>
      <dgm:t>
        <a:bodyPr/>
        <a:lstStyle/>
        <a:p>
          <a:pPr rtl="1"/>
          <a:endParaRPr lang="he-IL"/>
        </a:p>
      </dgm:t>
    </dgm:pt>
    <dgm:pt modelId="{673FB63E-B211-48D8-A778-F39E0824A466}" type="pres">
      <dgm:prSet presAssocID="{E520966F-830C-433E-9A50-FB6F6846BC44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A1295EA3-2C2B-423C-94EC-39CD6C97B8EC}" type="pres">
      <dgm:prSet presAssocID="{05D50616-F471-4C03-B2E0-A0A0C5A623AD}" presName="parTrans" presStyleLbl="sibTrans2D1" presStyleIdx="1" presStyleCnt="4"/>
      <dgm:spPr/>
      <dgm:t>
        <a:bodyPr/>
        <a:lstStyle/>
        <a:p>
          <a:pPr rtl="1"/>
          <a:endParaRPr lang="he-IL"/>
        </a:p>
      </dgm:t>
    </dgm:pt>
    <dgm:pt modelId="{25526D55-73CD-4E49-B344-2D34A40C1E43}" type="pres">
      <dgm:prSet presAssocID="{05D50616-F471-4C03-B2E0-A0A0C5A623AD}" presName="connectorText" presStyleLbl="sibTrans2D1" presStyleIdx="1" presStyleCnt="4"/>
      <dgm:spPr/>
      <dgm:t>
        <a:bodyPr/>
        <a:lstStyle/>
        <a:p>
          <a:pPr rtl="1"/>
          <a:endParaRPr lang="he-IL"/>
        </a:p>
      </dgm:t>
    </dgm:pt>
    <dgm:pt modelId="{0DD002ED-F913-44A4-AA7F-792DBD7CFCB1}" type="pres">
      <dgm:prSet presAssocID="{158162CE-7801-4DE1-8982-8503CF9576FB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D636C3C9-B01F-4285-9613-C5A7ECF8389B}" type="pres">
      <dgm:prSet presAssocID="{730E62D3-3D49-4F87-8AE4-8DC760721A0B}" presName="parTrans" presStyleLbl="sibTrans2D1" presStyleIdx="2" presStyleCnt="4"/>
      <dgm:spPr/>
      <dgm:t>
        <a:bodyPr/>
        <a:lstStyle/>
        <a:p>
          <a:pPr rtl="1"/>
          <a:endParaRPr lang="he-IL"/>
        </a:p>
      </dgm:t>
    </dgm:pt>
    <dgm:pt modelId="{7495F5F4-34C0-4E85-95B8-94EACCAB852D}" type="pres">
      <dgm:prSet presAssocID="{730E62D3-3D49-4F87-8AE4-8DC760721A0B}" presName="connectorText" presStyleLbl="sibTrans2D1" presStyleIdx="2" presStyleCnt="4"/>
      <dgm:spPr/>
      <dgm:t>
        <a:bodyPr/>
        <a:lstStyle/>
        <a:p>
          <a:pPr rtl="1"/>
          <a:endParaRPr lang="he-IL"/>
        </a:p>
      </dgm:t>
    </dgm:pt>
    <dgm:pt modelId="{6FEE0992-CC20-4697-9157-D4C5313A2B1E}" type="pres">
      <dgm:prSet presAssocID="{F70FACCC-6E37-40A6-BC9B-4719B97CEA16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CC93AC72-F046-4065-B02B-B4DD5010BE79}" type="pres">
      <dgm:prSet presAssocID="{FFA571E0-811F-421A-AA2D-D95B40B2A68A}" presName="parTrans" presStyleLbl="sibTrans2D1" presStyleIdx="3" presStyleCnt="4"/>
      <dgm:spPr/>
      <dgm:t>
        <a:bodyPr/>
        <a:lstStyle/>
        <a:p>
          <a:pPr rtl="1"/>
          <a:endParaRPr lang="he-IL"/>
        </a:p>
      </dgm:t>
    </dgm:pt>
    <dgm:pt modelId="{6799E84F-CF82-4C64-BF53-03699925FE3E}" type="pres">
      <dgm:prSet presAssocID="{FFA571E0-811F-421A-AA2D-D95B40B2A68A}" presName="connectorText" presStyleLbl="sibTrans2D1" presStyleIdx="3" presStyleCnt="4"/>
      <dgm:spPr/>
      <dgm:t>
        <a:bodyPr/>
        <a:lstStyle/>
        <a:p>
          <a:pPr rtl="1"/>
          <a:endParaRPr lang="he-IL"/>
        </a:p>
      </dgm:t>
    </dgm:pt>
    <dgm:pt modelId="{CE759648-DA01-4409-BF9D-DFE7E1E050E8}" type="pres">
      <dgm:prSet presAssocID="{CC9B4EBA-F6CB-4A93-B884-A8CB8538E3BA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</dgm:ptLst>
  <dgm:cxnLst>
    <dgm:cxn modelId="{F1CCD578-1F34-432F-BA94-232468A347C2}" type="presOf" srcId="{C9310D28-1A71-4C09-B78E-B7E2FB8086DB}" destId="{1A845BFA-F3FE-47CE-B9F4-3CC42BD45597}" srcOrd="1" destOrd="0" presId="urn:microsoft.com/office/officeart/2005/8/layout/radial5"/>
    <dgm:cxn modelId="{441E5CE1-4873-462B-9E7A-F2FAE38E8C9C}" type="presOf" srcId="{158162CE-7801-4DE1-8982-8503CF9576FB}" destId="{0DD002ED-F913-44A4-AA7F-792DBD7CFCB1}" srcOrd="0" destOrd="0" presId="urn:microsoft.com/office/officeart/2005/8/layout/radial5"/>
    <dgm:cxn modelId="{A05E771C-DE39-4AD8-A6A5-7D4BF9092D1A}" srcId="{85F47EAE-8496-4389-ADF3-3ED0CBD5939D}" destId="{F70FACCC-6E37-40A6-BC9B-4719B97CEA16}" srcOrd="2" destOrd="0" parTransId="{730E62D3-3D49-4F87-8AE4-8DC760721A0B}" sibTransId="{6C5E86ED-FCDB-4DDB-A263-86C3E9223A56}"/>
    <dgm:cxn modelId="{23FBA6AB-2C73-4520-9F92-81DA67E78495}" srcId="{85F47EAE-8496-4389-ADF3-3ED0CBD5939D}" destId="{158162CE-7801-4DE1-8982-8503CF9576FB}" srcOrd="1" destOrd="0" parTransId="{05D50616-F471-4C03-B2E0-A0A0C5A623AD}" sibTransId="{E135A1D0-E017-49C2-A06C-8BD5768E5AF0}"/>
    <dgm:cxn modelId="{3EB36A7F-F78B-489D-9D78-34DC0C2A7B11}" type="presOf" srcId="{E520966F-830C-433E-9A50-FB6F6846BC44}" destId="{673FB63E-B211-48D8-A778-F39E0824A466}" srcOrd="0" destOrd="0" presId="urn:microsoft.com/office/officeart/2005/8/layout/radial5"/>
    <dgm:cxn modelId="{D15CAC14-894F-477D-9CCE-79475B23CDFF}" type="presOf" srcId="{730E62D3-3D49-4F87-8AE4-8DC760721A0B}" destId="{7495F5F4-34C0-4E85-95B8-94EACCAB852D}" srcOrd="1" destOrd="0" presId="urn:microsoft.com/office/officeart/2005/8/layout/radial5"/>
    <dgm:cxn modelId="{B1B39CF5-C8D3-4345-BB77-D3F6EAEE8BB7}" srcId="{3B21B2A4-7B3C-42B3-8069-15A593BA0AC2}" destId="{85F47EAE-8496-4389-ADF3-3ED0CBD5939D}" srcOrd="0" destOrd="0" parTransId="{1388C302-FDDF-40A6-9DE9-A5559D94E076}" sibTransId="{7A6DB251-8817-4F96-8B57-38556021317F}"/>
    <dgm:cxn modelId="{CCF43B34-28B0-491F-A4AB-7685CA889B9B}" srcId="{85F47EAE-8496-4389-ADF3-3ED0CBD5939D}" destId="{E520966F-830C-433E-9A50-FB6F6846BC44}" srcOrd="0" destOrd="0" parTransId="{C9310D28-1A71-4C09-B78E-B7E2FB8086DB}" sibTransId="{5A5AC453-AACE-4753-9087-3219B5F05CB5}"/>
    <dgm:cxn modelId="{44A6C9A4-D663-47EC-8E9E-9EC0B351F1C2}" type="presOf" srcId="{730E62D3-3D49-4F87-8AE4-8DC760721A0B}" destId="{D636C3C9-B01F-4285-9613-C5A7ECF8389B}" srcOrd="0" destOrd="0" presId="urn:microsoft.com/office/officeart/2005/8/layout/radial5"/>
    <dgm:cxn modelId="{A9771B01-9CB9-4D06-B979-882ECEEE558F}" type="presOf" srcId="{85F47EAE-8496-4389-ADF3-3ED0CBD5939D}" destId="{CF4FA528-8E07-4256-91F0-CA564EABA3C9}" srcOrd="0" destOrd="0" presId="urn:microsoft.com/office/officeart/2005/8/layout/radial5"/>
    <dgm:cxn modelId="{5821D777-A8FF-42BF-AF58-F14400F75AEC}" srcId="{85F47EAE-8496-4389-ADF3-3ED0CBD5939D}" destId="{CC9B4EBA-F6CB-4A93-B884-A8CB8538E3BA}" srcOrd="3" destOrd="0" parTransId="{FFA571E0-811F-421A-AA2D-D95B40B2A68A}" sibTransId="{CE54123D-2D08-4F05-B67D-F9EEAB8332C9}"/>
    <dgm:cxn modelId="{D2F9BEB8-B4A8-409C-8903-6B32651112F0}" type="presOf" srcId="{05D50616-F471-4C03-B2E0-A0A0C5A623AD}" destId="{25526D55-73CD-4E49-B344-2D34A40C1E43}" srcOrd="1" destOrd="0" presId="urn:microsoft.com/office/officeart/2005/8/layout/radial5"/>
    <dgm:cxn modelId="{126065CC-EECD-46CF-BBBB-244E131519C0}" type="presOf" srcId="{C9310D28-1A71-4C09-B78E-B7E2FB8086DB}" destId="{FD8E2E9D-D6BB-482C-AC49-C8F0F938D98B}" srcOrd="0" destOrd="0" presId="urn:microsoft.com/office/officeart/2005/8/layout/radial5"/>
    <dgm:cxn modelId="{743A9B2E-F515-45E2-9010-2E890FE8EC94}" type="presOf" srcId="{05D50616-F471-4C03-B2E0-A0A0C5A623AD}" destId="{A1295EA3-2C2B-423C-94EC-39CD6C97B8EC}" srcOrd="0" destOrd="0" presId="urn:microsoft.com/office/officeart/2005/8/layout/radial5"/>
    <dgm:cxn modelId="{285E905D-290B-4CFC-9D7B-5579139F57BA}" type="presOf" srcId="{FFA571E0-811F-421A-AA2D-D95B40B2A68A}" destId="{6799E84F-CF82-4C64-BF53-03699925FE3E}" srcOrd="1" destOrd="0" presId="urn:microsoft.com/office/officeart/2005/8/layout/radial5"/>
    <dgm:cxn modelId="{AED7244F-1D51-493A-8D45-BC127515D695}" type="presOf" srcId="{3B21B2A4-7B3C-42B3-8069-15A593BA0AC2}" destId="{61139A06-3B0E-47AC-B9F6-374B63BAE47C}" srcOrd="0" destOrd="0" presId="urn:microsoft.com/office/officeart/2005/8/layout/radial5"/>
    <dgm:cxn modelId="{38176956-DA5D-4D96-866C-03D5A08411A1}" type="presOf" srcId="{FFA571E0-811F-421A-AA2D-D95B40B2A68A}" destId="{CC93AC72-F046-4065-B02B-B4DD5010BE79}" srcOrd="0" destOrd="0" presId="urn:microsoft.com/office/officeart/2005/8/layout/radial5"/>
    <dgm:cxn modelId="{8A1050CE-31B1-420A-BF73-61DE0AD3ABD1}" type="presOf" srcId="{F70FACCC-6E37-40A6-BC9B-4719B97CEA16}" destId="{6FEE0992-CC20-4697-9157-D4C5313A2B1E}" srcOrd="0" destOrd="0" presId="urn:microsoft.com/office/officeart/2005/8/layout/radial5"/>
    <dgm:cxn modelId="{A2E38402-BFAA-417D-A252-6F6E30FCF43D}" type="presOf" srcId="{CC9B4EBA-F6CB-4A93-B884-A8CB8538E3BA}" destId="{CE759648-DA01-4409-BF9D-DFE7E1E050E8}" srcOrd="0" destOrd="0" presId="urn:microsoft.com/office/officeart/2005/8/layout/radial5"/>
    <dgm:cxn modelId="{574A222E-D6B4-4C42-90F8-79891BD1F5D6}" type="presParOf" srcId="{61139A06-3B0E-47AC-B9F6-374B63BAE47C}" destId="{CF4FA528-8E07-4256-91F0-CA564EABA3C9}" srcOrd="0" destOrd="0" presId="urn:microsoft.com/office/officeart/2005/8/layout/radial5"/>
    <dgm:cxn modelId="{AD47DDBD-1782-4F9A-9D30-0883B38CDBB5}" type="presParOf" srcId="{61139A06-3B0E-47AC-B9F6-374B63BAE47C}" destId="{FD8E2E9D-D6BB-482C-AC49-C8F0F938D98B}" srcOrd="1" destOrd="0" presId="urn:microsoft.com/office/officeart/2005/8/layout/radial5"/>
    <dgm:cxn modelId="{63D51075-8D91-466D-860B-D88BE4E1AD14}" type="presParOf" srcId="{FD8E2E9D-D6BB-482C-AC49-C8F0F938D98B}" destId="{1A845BFA-F3FE-47CE-B9F4-3CC42BD45597}" srcOrd="0" destOrd="0" presId="urn:microsoft.com/office/officeart/2005/8/layout/radial5"/>
    <dgm:cxn modelId="{77723B44-1949-43D2-9661-8332AEF186BA}" type="presParOf" srcId="{61139A06-3B0E-47AC-B9F6-374B63BAE47C}" destId="{673FB63E-B211-48D8-A778-F39E0824A466}" srcOrd="2" destOrd="0" presId="urn:microsoft.com/office/officeart/2005/8/layout/radial5"/>
    <dgm:cxn modelId="{C9211BCD-F006-4B01-A990-5BCE805D57BE}" type="presParOf" srcId="{61139A06-3B0E-47AC-B9F6-374B63BAE47C}" destId="{A1295EA3-2C2B-423C-94EC-39CD6C97B8EC}" srcOrd="3" destOrd="0" presId="urn:microsoft.com/office/officeart/2005/8/layout/radial5"/>
    <dgm:cxn modelId="{B30641A3-40E8-47D2-9369-5F7B00BFC1B1}" type="presParOf" srcId="{A1295EA3-2C2B-423C-94EC-39CD6C97B8EC}" destId="{25526D55-73CD-4E49-B344-2D34A40C1E43}" srcOrd="0" destOrd="0" presId="urn:microsoft.com/office/officeart/2005/8/layout/radial5"/>
    <dgm:cxn modelId="{C3057A01-B73D-4DF4-AF78-37CBE1C1EBF8}" type="presParOf" srcId="{61139A06-3B0E-47AC-B9F6-374B63BAE47C}" destId="{0DD002ED-F913-44A4-AA7F-792DBD7CFCB1}" srcOrd="4" destOrd="0" presId="urn:microsoft.com/office/officeart/2005/8/layout/radial5"/>
    <dgm:cxn modelId="{59021E6D-EF2B-4806-9A35-C34EBE376826}" type="presParOf" srcId="{61139A06-3B0E-47AC-B9F6-374B63BAE47C}" destId="{D636C3C9-B01F-4285-9613-C5A7ECF8389B}" srcOrd="5" destOrd="0" presId="urn:microsoft.com/office/officeart/2005/8/layout/radial5"/>
    <dgm:cxn modelId="{D4DA8879-16DB-442A-92A7-CC9A4EEEB9A9}" type="presParOf" srcId="{D636C3C9-B01F-4285-9613-C5A7ECF8389B}" destId="{7495F5F4-34C0-4E85-95B8-94EACCAB852D}" srcOrd="0" destOrd="0" presId="urn:microsoft.com/office/officeart/2005/8/layout/radial5"/>
    <dgm:cxn modelId="{99CF81D0-193C-4A4D-A06B-DEE161FA3F87}" type="presParOf" srcId="{61139A06-3B0E-47AC-B9F6-374B63BAE47C}" destId="{6FEE0992-CC20-4697-9157-D4C5313A2B1E}" srcOrd="6" destOrd="0" presId="urn:microsoft.com/office/officeart/2005/8/layout/radial5"/>
    <dgm:cxn modelId="{9D79DA02-BB62-431F-907F-B11874F2FC75}" type="presParOf" srcId="{61139A06-3B0E-47AC-B9F6-374B63BAE47C}" destId="{CC93AC72-F046-4065-B02B-B4DD5010BE79}" srcOrd="7" destOrd="0" presId="urn:microsoft.com/office/officeart/2005/8/layout/radial5"/>
    <dgm:cxn modelId="{C1B47ECD-EC97-443E-A617-C3C8FE050AE4}" type="presParOf" srcId="{CC93AC72-F046-4065-B02B-B4DD5010BE79}" destId="{6799E84F-CF82-4C64-BF53-03699925FE3E}" srcOrd="0" destOrd="0" presId="urn:microsoft.com/office/officeart/2005/8/layout/radial5"/>
    <dgm:cxn modelId="{5A27DA6F-E9F4-4C14-80E3-F8AAE04976A4}" type="presParOf" srcId="{61139A06-3B0E-47AC-B9F6-374B63BAE47C}" destId="{CE759648-DA01-4409-BF9D-DFE7E1E050E8}" srcOrd="8" destOrd="0" presId="urn:microsoft.com/office/officeart/2005/8/layout/radial5"/>
  </dgm:cxnLst>
  <dgm:bg>
    <a:noFill/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6D8719AD-FAE2-48C5-9A97-D30571B5B465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236DD5E-27E4-46C4-B9AE-3001C8CB1309}">
      <dgm:prSet phldrT="[Text]"/>
      <dgm:spPr/>
      <dgm:t>
        <a:bodyPr/>
        <a:lstStyle/>
        <a:p>
          <a:r>
            <a:rPr lang="en-US" dirty="0" smtClean="0"/>
            <a:t>Relational Partitioning</a:t>
          </a:r>
          <a:endParaRPr lang="en-US" dirty="0"/>
        </a:p>
      </dgm:t>
    </dgm:pt>
    <dgm:pt modelId="{BDA2C514-CAEA-4E13-BF2A-BC39A2759A49}" type="parTrans" cxnId="{CC1CECE3-50F8-411A-AA65-0C05F64E5ACB}">
      <dgm:prSet/>
      <dgm:spPr/>
      <dgm:t>
        <a:bodyPr/>
        <a:lstStyle/>
        <a:p>
          <a:endParaRPr lang="en-US"/>
        </a:p>
      </dgm:t>
    </dgm:pt>
    <dgm:pt modelId="{7A66AA54-1096-4985-BBC7-1E0213794AEC}" type="sibTrans" cxnId="{CC1CECE3-50F8-411A-AA65-0C05F64E5ACB}">
      <dgm:prSet/>
      <dgm:spPr/>
      <dgm:t>
        <a:bodyPr/>
        <a:lstStyle/>
        <a:p>
          <a:endParaRPr lang="en-US"/>
        </a:p>
      </dgm:t>
    </dgm:pt>
    <dgm:pt modelId="{E78CBE30-35E2-4534-9BC1-609D1640C95B}" type="pres">
      <dgm:prSet presAssocID="{6D8719AD-FAE2-48C5-9A97-D30571B5B46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A02D8931-5A4F-44FE-888A-040E1A94A1D3}" type="pres">
      <dgm:prSet presAssocID="{6D8719AD-FAE2-48C5-9A97-D30571B5B465}" presName="Name1" presStyleCnt="0"/>
      <dgm:spPr/>
    </dgm:pt>
    <dgm:pt modelId="{689FCFFD-CBC0-4F9C-9017-778644080CA0}" type="pres">
      <dgm:prSet presAssocID="{6D8719AD-FAE2-48C5-9A97-D30571B5B465}" presName="cycle" presStyleCnt="0"/>
      <dgm:spPr/>
    </dgm:pt>
    <dgm:pt modelId="{8CE82349-FB35-4EBC-856E-6983445627CD}" type="pres">
      <dgm:prSet presAssocID="{6D8719AD-FAE2-48C5-9A97-D30571B5B465}" presName="srcNode" presStyleLbl="node1" presStyleIdx="0" presStyleCnt="1"/>
      <dgm:spPr/>
    </dgm:pt>
    <dgm:pt modelId="{B1571432-935F-418F-8EB1-EA1A43050BB1}" type="pres">
      <dgm:prSet presAssocID="{6D8719AD-FAE2-48C5-9A97-D30571B5B465}" presName="conn" presStyleLbl="parChTrans1D2" presStyleIdx="0" presStyleCnt="1"/>
      <dgm:spPr/>
      <dgm:t>
        <a:bodyPr/>
        <a:lstStyle/>
        <a:p>
          <a:endParaRPr lang="en-US"/>
        </a:p>
      </dgm:t>
    </dgm:pt>
    <dgm:pt modelId="{51FEC0AA-6CF7-4FFF-BA9A-C22EAB88A584}" type="pres">
      <dgm:prSet presAssocID="{6D8719AD-FAE2-48C5-9A97-D30571B5B465}" presName="extraNode" presStyleLbl="node1" presStyleIdx="0" presStyleCnt="1"/>
      <dgm:spPr/>
    </dgm:pt>
    <dgm:pt modelId="{755BC9EA-7F27-406B-9E59-9B374508A274}" type="pres">
      <dgm:prSet presAssocID="{6D8719AD-FAE2-48C5-9A97-D30571B5B465}" presName="dstNode" presStyleLbl="node1" presStyleIdx="0" presStyleCnt="1"/>
      <dgm:spPr/>
    </dgm:pt>
    <dgm:pt modelId="{147A945D-8DF5-4AC8-9A7D-D6E40D028A89}" type="pres">
      <dgm:prSet presAssocID="{F236DD5E-27E4-46C4-B9AE-3001C8CB1309}" presName="text_1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9D415E-E1FC-40B7-BABB-18B61666100E}" type="pres">
      <dgm:prSet presAssocID="{F236DD5E-27E4-46C4-B9AE-3001C8CB1309}" presName="accent_1" presStyleCnt="0"/>
      <dgm:spPr/>
    </dgm:pt>
    <dgm:pt modelId="{FFF049AE-C54A-4D31-908C-A502B61505BE}" type="pres">
      <dgm:prSet presAssocID="{F236DD5E-27E4-46C4-B9AE-3001C8CB1309}" presName="accentRepeatNode" presStyleLbl="solidFgAcc1" presStyleIdx="0" presStyleCnt="1"/>
      <dgm:spPr/>
    </dgm:pt>
  </dgm:ptLst>
  <dgm:cxnLst>
    <dgm:cxn modelId="{1CFFB3CA-48FE-4A2D-B24B-49E00FBEED85}" type="presOf" srcId="{F236DD5E-27E4-46C4-B9AE-3001C8CB1309}" destId="{147A945D-8DF5-4AC8-9A7D-D6E40D028A89}" srcOrd="0" destOrd="0" presId="urn:microsoft.com/office/officeart/2008/layout/VerticalCurvedList"/>
    <dgm:cxn modelId="{15FDA4EB-D228-40E0-B11B-EF458B9A4A88}" type="presOf" srcId="{7A66AA54-1096-4985-BBC7-1E0213794AEC}" destId="{B1571432-935F-418F-8EB1-EA1A43050BB1}" srcOrd="0" destOrd="0" presId="urn:microsoft.com/office/officeart/2008/layout/VerticalCurvedList"/>
    <dgm:cxn modelId="{1780433B-C92B-43F1-8686-DEB6E5C55AAC}" type="presOf" srcId="{6D8719AD-FAE2-48C5-9A97-D30571B5B465}" destId="{E78CBE30-35E2-4534-9BC1-609D1640C95B}" srcOrd="0" destOrd="0" presId="urn:microsoft.com/office/officeart/2008/layout/VerticalCurvedList"/>
    <dgm:cxn modelId="{CC1CECE3-50F8-411A-AA65-0C05F64E5ACB}" srcId="{6D8719AD-FAE2-48C5-9A97-D30571B5B465}" destId="{F236DD5E-27E4-46C4-B9AE-3001C8CB1309}" srcOrd="0" destOrd="0" parTransId="{BDA2C514-CAEA-4E13-BF2A-BC39A2759A49}" sibTransId="{7A66AA54-1096-4985-BBC7-1E0213794AEC}"/>
    <dgm:cxn modelId="{01EC1D42-63F4-45A9-8894-4FFBF7B3B241}" type="presParOf" srcId="{E78CBE30-35E2-4534-9BC1-609D1640C95B}" destId="{A02D8931-5A4F-44FE-888A-040E1A94A1D3}" srcOrd="0" destOrd="0" presId="urn:microsoft.com/office/officeart/2008/layout/VerticalCurvedList"/>
    <dgm:cxn modelId="{19E6353F-8803-48B3-87D0-D05B73AE8A03}" type="presParOf" srcId="{A02D8931-5A4F-44FE-888A-040E1A94A1D3}" destId="{689FCFFD-CBC0-4F9C-9017-778644080CA0}" srcOrd="0" destOrd="0" presId="urn:microsoft.com/office/officeart/2008/layout/VerticalCurvedList"/>
    <dgm:cxn modelId="{F794DD41-B466-4891-BC68-E5C1BFA5F257}" type="presParOf" srcId="{689FCFFD-CBC0-4F9C-9017-778644080CA0}" destId="{8CE82349-FB35-4EBC-856E-6983445627CD}" srcOrd="0" destOrd="0" presId="urn:microsoft.com/office/officeart/2008/layout/VerticalCurvedList"/>
    <dgm:cxn modelId="{B6D67E0D-8CB1-4C66-975B-AE23150E9770}" type="presParOf" srcId="{689FCFFD-CBC0-4F9C-9017-778644080CA0}" destId="{B1571432-935F-418F-8EB1-EA1A43050BB1}" srcOrd="1" destOrd="0" presId="urn:microsoft.com/office/officeart/2008/layout/VerticalCurvedList"/>
    <dgm:cxn modelId="{31C16939-FE7E-4263-8E62-ACEEA703282B}" type="presParOf" srcId="{689FCFFD-CBC0-4F9C-9017-778644080CA0}" destId="{51FEC0AA-6CF7-4FFF-BA9A-C22EAB88A584}" srcOrd="2" destOrd="0" presId="urn:microsoft.com/office/officeart/2008/layout/VerticalCurvedList"/>
    <dgm:cxn modelId="{4491EA86-9A02-445D-9A76-6279EC8F59F4}" type="presParOf" srcId="{689FCFFD-CBC0-4F9C-9017-778644080CA0}" destId="{755BC9EA-7F27-406B-9E59-9B374508A274}" srcOrd="3" destOrd="0" presId="urn:microsoft.com/office/officeart/2008/layout/VerticalCurvedList"/>
    <dgm:cxn modelId="{C57DBF2E-7359-4036-B3D2-5E41287A8526}" type="presParOf" srcId="{A02D8931-5A4F-44FE-888A-040E1A94A1D3}" destId="{147A945D-8DF5-4AC8-9A7D-D6E40D028A89}" srcOrd="1" destOrd="0" presId="urn:microsoft.com/office/officeart/2008/layout/VerticalCurvedList"/>
    <dgm:cxn modelId="{58236067-4D2B-4E3F-8751-E8B89DC301C5}" type="presParOf" srcId="{A02D8931-5A4F-44FE-888A-040E1A94A1D3}" destId="{559D415E-E1FC-40B7-BABB-18B61666100E}" srcOrd="2" destOrd="0" presId="urn:microsoft.com/office/officeart/2008/layout/VerticalCurvedList"/>
    <dgm:cxn modelId="{38B6AD0A-5EB6-45DD-8E6F-19117ED4B71F}" type="presParOf" srcId="{559D415E-E1FC-40B7-BABB-18B61666100E}" destId="{FFF049AE-C54A-4D31-908C-A502B61505B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6D8719AD-FAE2-48C5-9A97-D30571B5B465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61CC01D-A1E2-46E7-840E-3AA55EE1D03F}">
      <dgm:prSet/>
      <dgm:spPr/>
      <dgm:t>
        <a:bodyPr/>
        <a:lstStyle/>
        <a:p>
          <a:r>
            <a:rPr lang="en-US" dirty="0" smtClean="0"/>
            <a:t>OLAP and </a:t>
          </a:r>
          <a:r>
            <a:rPr lang="en-US" dirty="0" err="1" smtClean="0"/>
            <a:t>InMemory</a:t>
          </a:r>
          <a:r>
            <a:rPr lang="en-US" dirty="0" smtClean="0"/>
            <a:t> Databases</a:t>
          </a:r>
          <a:endParaRPr lang="en-US" dirty="0"/>
        </a:p>
      </dgm:t>
    </dgm:pt>
    <dgm:pt modelId="{F9605D3F-21C5-46F7-947C-1D3A7564A92B}" type="parTrans" cxnId="{CB4AAE23-0B00-4E16-B7AF-63FE6404B657}">
      <dgm:prSet/>
      <dgm:spPr/>
      <dgm:t>
        <a:bodyPr/>
        <a:lstStyle/>
        <a:p>
          <a:endParaRPr lang="en-US"/>
        </a:p>
      </dgm:t>
    </dgm:pt>
    <dgm:pt modelId="{56EB1B93-B004-4314-927A-5B1326D5521F}" type="sibTrans" cxnId="{CB4AAE23-0B00-4E16-B7AF-63FE6404B657}">
      <dgm:prSet/>
      <dgm:spPr/>
      <dgm:t>
        <a:bodyPr/>
        <a:lstStyle/>
        <a:p>
          <a:endParaRPr lang="en-US"/>
        </a:p>
      </dgm:t>
    </dgm:pt>
    <dgm:pt modelId="{E78CBE30-35E2-4534-9BC1-609D1640C95B}" type="pres">
      <dgm:prSet presAssocID="{6D8719AD-FAE2-48C5-9A97-D30571B5B46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A02D8931-5A4F-44FE-888A-040E1A94A1D3}" type="pres">
      <dgm:prSet presAssocID="{6D8719AD-FAE2-48C5-9A97-D30571B5B465}" presName="Name1" presStyleCnt="0"/>
      <dgm:spPr/>
    </dgm:pt>
    <dgm:pt modelId="{689FCFFD-CBC0-4F9C-9017-778644080CA0}" type="pres">
      <dgm:prSet presAssocID="{6D8719AD-FAE2-48C5-9A97-D30571B5B465}" presName="cycle" presStyleCnt="0"/>
      <dgm:spPr/>
    </dgm:pt>
    <dgm:pt modelId="{8CE82349-FB35-4EBC-856E-6983445627CD}" type="pres">
      <dgm:prSet presAssocID="{6D8719AD-FAE2-48C5-9A97-D30571B5B465}" presName="srcNode" presStyleLbl="node1" presStyleIdx="0" presStyleCnt="1"/>
      <dgm:spPr/>
    </dgm:pt>
    <dgm:pt modelId="{B1571432-935F-418F-8EB1-EA1A43050BB1}" type="pres">
      <dgm:prSet presAssocID="{6D8719AD-FAE2-48C5-9A97-D30571B5B465}" presName="conn" presStyleLbl="parChTrans1D2" presStyleIdx="0" presStyleCnt="1"/>
      <dgm:spPr/>
      <dgm:t>
        <a:bodyPr/>
        <a:lstStyle/>
        <a:p>
          <a:endParaRPr lang="en-US"/>
        </a:p>
      </dgm:t>
    </dgm:pt>
    <dgm:pt modelId="{51FEC0AA-6CF7-4FFF-BA9A-C22EAB88A584}" type="pres">
      <dgm:prSet presAssocID="{6D8719AD-FAE2-48C5-9A97-D30571B5B465}" presName="extraNode" presStyleLbl="node1" presStyleIdx="0" presStyleCnt="1"/>
      <dgm:spPr/>
    </dgm:pt>
    <dgm:pt modelId="{755BC9EA-7F27-406B-9E59-9B374508A274}" type="pres">
      <dgm:prSet presAssocID="{6D8719AD-FAE2-48C5-9A97-D30571B5B465}" presName="dstNode" presStyleLbl="node1" presStyleIdx="0" presStyleCnt="1"/>
      <dgm:spPr/>
    </dgm:pt>
    <dgm:pt modelId="{B1A88A3D-5BE7-4B78-B4B8-34FB999DCC07}" type="pres">
      <dgm:prSet presAssocID="{B61CC01D-A1E2-46E7-840E-3AA55EE1D03F}" presName="text_1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5DFB7-F2FD-4278-9C4D-1DE5C789890D}" type="pres">
      <dgm:prSet presAssocID="{B61CC01D-A1E2-46E7-840E-3AA55EE1D03F}" presName="accent_1" presStyleCnt="0"/>
      <dgm:spPr/>
    </dgm:pt>
    <dgm:pt modelId="{1DAF4C77-2822-46D2-BF72-F99946346FF6}" type="pres">
      <dgm:prSet presAssocID="{B61CC01D-A1E2-46E7-840E-3AA55EE1D03F}" presName="accentRepeatNode" presStyleLbl="solidFgAcc1" presStyleIdx="0" presStyleCnt="1"/>
      <dgm:spPr/>
    </dgm:pt>
  </dgm:ptLst>
  <dgm:cxnLst>
    <dgm:cxn modelId="{CB4AAE23-0B00-4E16-B7AF-63FE6404B657}" srcId="{6D8719AD-FAE2-48C5-9A97-D30571B5B465}" destId="{B61CC01D-A1E2-46E7-840E-3AA55EE1D03F}" srcOrd="0" destOrd="0" parTransId="{F9605D3F-21C5-46F7-947C-1D3A7564A92B}" sibTransId="{56EB1B93-B004-4314-927A-5B1326D5521F}"/>
    <dgm:cxn modelId="{62A6066B-3BBE-47B7-8D65-3C2BAC49817B}" type="presOf" srcId="{56EB1B93-B004-4314-927A-5B1326D5521F}" destId="{B1571432-935F-418F-8EB1-EA1A43050BB1}" srcOrd="0" destOrd="0" presId="urn:microsoft.com/office/officeart/2008/layout/VerticalCurvedList"/>
    <dgm:cxn modelId="{0DA497D4-E82D-474F-A7CD-7EE6AA28027C}" type="presOf" srcId="{B61CC01D-A1E2-46E7-840E-3AA55EE1D03F}" destId="{B1A88A3D-5BE7-4B78-B4B8-34FB999DCC07}" srcOrd="0" destOrd="0" presId="urn:microsoft.com/office/officeart/2008/layout/VerticalCurvedList"/>
    <dgm:cxn modelId="{729E10A3-4ABE-4951-95E7-83383A552ACE}" type="presOf" srcId="{6D8719AD-FAE2-48C5-9A97-D30571B5B465}" destId="{E78CBE30-35E2-4534-9BC1-609D1640C95B}" srcOrd="0" destOrd="0" presId="urn:microsoft.com/office/officeart/2008/layout/VerticalCurvedList"/>
    <dgm:cxn modelId="{BD3A29C2-19E6-4185-BABF-D9F26B0A4B5B}" type="presParOf" srcId="{E78CBE30-35E2-4534-9BC1-609D1640C95B}" destId="{A02D8931-5A4F-44FE-888A-040E1A94A1D3}" srcOrd="0" destOrd="0" presId="urn:microsoft.com/office/officeart/2008/layout/VerticalCurvedList"/>
    <dgm:cxn modelId="{D4449DF7-6097-4837-9C13-AD5A1812F467}" type="presParOf" srcId="{A02D8931-5A4F-44FE-888A-040E1A94A1D3}" destId="{689FCFFD-CBC0-4F9C-9017-778644080CA0}" srcOrd="0" destOrd="0" presId="urn:microsoft.com/office/officeart/2008/layout/VerticalCurvedList"/>
    <dgm:cxn modelId="{708792FF-E724-404B-889B-00448D412709}" type="presParOf" srcId="{689FCFFD-CBC0-4F9C-9017-778644080CA0}" destId="{8CE82349-FB35-4EBC-856E-6983445627CD}" srcOrd="0" destOrd="0" presId="urn:microsoft.com/office/officeart/2008/layout/VerticalCurvedList"/>
    <dgm:cxn modelId="{CC3EC465-EB55-4543-96ED-7C1824A421AB}" type="presParOf" srcId="{689FCFFD-CBC0-4F9C-9017-778644080CA0}" destId="{B1571432-935F-418F-8EB1-EA1A43050BB1}" srcOrd="1" destOrd="0" presId="urn:microsoft.com/office/officeart/2008/layout/VerticalCurvedList"/>
    <dgm:cxn modelId="{203F88D5-E286-440B-B505-909537AF8864}" type="presParOf" srcId="{689FCFFD-CBC0-4F9C-9017-778644080CA0}" destId="{51FEC0AA-6CF7-4FFF-BA9A-C22EAB88A584}" srcOrd="2" destOrd="0" presId="urn:microsoft.com/office/officeart/2008/layout/VerticalCurvedList"/>
    <dgm:cxn modelId="{5FD52537-B0C4-48B8-8C4B-60E48327C0C4}" type="presParOf" srcId="{689FCFFD-CBC0-4F9C-9017-778644080CA0}" destId="{755BC9EA-7F27-406B-9E59-9B374508A274}" srcOrd="3" destOrd="0" presId="urn:microsoft.com/office/officeart/2008/layout/VerticalCurvedList"/>
    <dgm:cxn modelId="{EC82D144-FCB6-46F5-8B68-3E115B869FDD}" type="presParOf" srcId="{A02D8931-5A4F-44FE-888A-040E1A94A1D3}" destId="{B1A88A3D-5BE7-4B78-B4B8-34FB999DCC07}" srcOrd="1" destOrd="0" presId="urn:microsoft.com/office/officeart/2008/layout/VerticalCurvedList"/>
    <dgm:cxn modelId="{82339400-99E8-4F37-88D3-146778A152AD}" type="presParOf" srcId="{A02D8931-5A4F-44FE-888A-040E1A94A1D3}" destId="{ECB5DFB7-F2FD-4278-9C4D-1DE5C789890D}" srcOrd="2" destOrd="0" presId="urn:microsoft.com/office/officeart/2008/layout/VerticalCurvedList"/>
    <dgm:cxn modelId="{6B5E703A-4D61-4F69-8668-41BEADC6FC29}" type="presParOf" srcId="{ECB5DFB7-F2FD-4278-9C4D-1DE5C789890D}" destId="{1DAF4C77-2822-46D2-BF72-F99946346FF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74F23AF-BFC7-4577-BBC4-196400DE74BE}" type="doc">
      <dgm:prSet loTypeId="urn:microsoft.com/office/officeart/2008/layout/BubblePictureList" loCatId="picture" qsTypeId="urn:microsoft.com/office/officeart/2005/8/quickstyle/3d6" qsCatId="3D" csTypeId="urn:microsoft.com/office/officeart/2005/8/colors/accent1_2" csCatId="accent1" phldr="1"/>
      <dgm:spPr/>
      <dgm:t>
        <a:bodyPr/>
        <a:lstStyle/>
        <a:p>
          <a:pPr rtl="1"/>
          <a:endParaRPr lang="he-IL"/>
        </a:p>
      </dgm:t>
    </dgm:pt>
    <dgm:pt modelId="{EE76E198-BB10-4508-B01E-B6B58EB2D49C}">
      <dgm:prSet/>
      <dgm:spPr/>
      <dgm:t>
        <a:bodyPr/>
        <a:lstStyle/>
        <a:p>
          <a:pPr algn="ctr" rtl="0"/>
          <a:r>
            <a:rPr lang="en-US" dirty="0" smtClean="0"/>
            <a:t>~8 Years of Video Uploaded to YouTube every Day</a:t>
          </a:r>
          <a:endParaRPr lang="he-IL" dirty="0"/>
        </a:p>
      </dgm:t>
    </dgm:pt>
    <dgm:pt modelId="{543F0DD6-C120-4665-A7B9-02D0B2DBFAF4}" type="parTrans" cxnId="{A22C180E-69F5-43EE-90D9-0AC5102E8F49}">
      <dgm:prSet/>
      <dgm:spPr/>
      <dgm:t>
        <a:bodyPr/>
        <a:lstStyle/>
        <a:p>
          <a:pPr rtl="1"/>
          <a:endParaRPr lang="he-IL"/>
        </a:p>
      </dgm:t>
    </dgm:pt>
    <dgm:pt modelId="{688254DE-84D2-43F3-A68E-718A772810E9}" type="sibTrans" cxnId="{A22C180E-69F5-43EE-90D9-0AC5102E8F49}">
      <dgm:prSet/>
      <dgm:spPr/>
      <dgm:t>
        <a:bodyPr/>
        <a:lstStyle/>
        <a:p>
          <a:pPr rtl="1"/>
          <a:endParaRPr lang="he-IL"/>
        </a:p>
      </dgm:t>
    </dgm:pt>
    <dgm:pt modelId="{B6F62A9E-4E39-4CEF-8F77-1271727AC815}">
      <dgm:prSet/>
      <dgm:spPr/>
      <dgm:t>
        <a:bodyPr/>
        <a:lstStyle/>
        <a:p>
          <a:pPr algn="ctr" rtl="0"/>
          <a:r>
            <a:rPr lang="en-US" dirty="0" smtClean="0"/>
            <a:t>~140 Million Tweets on Twitter every Day</a:t>
          </a:r>
          <a:endParaRPr lang="he-IL" dirty="0"/>
        </a:p>
      </dgm:t>
    </dgm:pt>
    <dgm:pt modelId="{29591523-22A0-423E-B474-6F17EB43177F}" type="parTrans" cxnId="{E55B3CBC-142D-4F2A-9435-0911BADC567E}">
      <dgm:prSet/>
      <dgm:spPr/>
      <dgm:t>
        <a:bodyPr/>
        <a:lstStyle/>
        <a:p>
          <a:pPr rtl="1"/>
          <a:endParaRPr lang="he-IL"/>
        </a:p>
      </dgm:t>
    </dgm:pt>
    <dgm:pt modelId="{CD2173FA-773A-4663-9852-5C2911BC4433}" type="sibTrans" cxnId="{E55B3CBC-142D-4F2A-9435-0911BADC567E}">
      <dgm:prSet/>
      <dgm:spPr/>
      <dgm:t>
        <a:bodyPr/>
        <a:lstStyle/>
        <a:p>
          <a:pPr rtl="1"/>
          <a:endParaRPr lang="he-IL"/>
        </a:p>
      </dgm:t>
    </dgm:pt>
    <dgm:pt modelId="{0F3614EA-8B16-44C2-8CE3-5A3F6AFFB9F1}">
      <dgm:prSet/>
      <dgm:spPr/>
      <dgm:t>
        <a:bodyPr/>
        <a:lstStyle/>
        <a:p>
          <a:pPr algn="ctr" rtl="0"/>
          <a:r>
            <a:rPr lang="en-US" dirty="0" smtClean="0"/>
            <a:t>&gt;250 Million Photos Uploaded to Facebook every Day</a:t>
          </a:r>
          <a:endParaRPr lang="he-IL" dirty="0"/>
        </a:p>
      </dgm:t>
    </dgm:pt>
    <dgm:pt modelId="{AD5066B2-1059-4319-8693-58CB822AB391}" type="parTrans" cxnId="{1C3EFA29-61F8-427C-A4E5-7E338821BF60}">
      <dgm:prSet/>
      <dgm:spPr/>
      <dgm:t>
        <a:bodyPr/>
        <a:lstStyle/>
        <a:p>
          <a:pPr rtl="1"/>
          <a:endParaRPr lang="he-IL"/>
        </a:p>
      </dgm:t>
    </dgm:pt>
    <dgm:pt modelId="{F6550C84-764B-48FD-89C4-8643C34AD7F5}" type="sibTrans" cxnId="{1C3EFA29-61F8-427C-A4E5-7E338821BF60}">
      <dgm:prSet/>
      <dgm:spPr/>
      <dgm:t>
        <a:bodyPr/>
        <a:lstStyle/>
        <a:p>
          <a:pPr rtl="1"/>
          <a:endParaRPr lang="he-IL"/>
        </a:p>
      </dgm:t>
    </dgm:pt>
    <dgm:pt modelId="{53E4DABC-B892-4327-987C-D52E11C237EF}">
      <dgm:prSet/>
      <dgm:spPr/>
      <dgm:t>
        <a:bodyPr/>
        <a:lstStyle/>
        <a:p>
          <a:pPr algn="ctr" rtl="0"/>
          <a:r>
            <a:rPr lang="en-US" dirty="0" smtClean="0"/>
            <a:t>1.8 Million Photos Uploaded to Flickr every Day</a:t>
          </a:r>
          <a:endParaRPr lang="he-IL" dirty="0"/>
        </a:p>
      </dgm:t>
    </dgm:pt>
    <dgm:pt modelId="{2631E0BA-0201-4B83-8987-470992D07F94}" type="parTrans" cxnId="{14868074-084B-4BD2-9C31-594CB6330BA3}">
      <dgm:prSet/>
      <dgm:spPr/>
      <dgm:t>
        <a:bodyPr/>
        <a:lstStyle/>
        <a:p>
          <a:pPr rtl="1"/>
          <a:endParaRPr lang="he-IL"/>
        </a:p>
      </dgm:t>
    </dgm:pt>
    <dgm:pt modelId="{3BD2C050-C6A9-4213-BB9C-F7B856565E4D}" type="sibTrans" cxnId="{14868074-084B-4BD2-9C31-594CB6330BA3}">
      <dgm:prSet/>
      <dgm:spPr/>
      <dgm:t>
        <a:bodyPr/>
        <a:lstStyle/>
        <a:p>
          <a:pPr rtl="1"/>
          <a:endParaRPr lang="he-IL"/>
        </a:p>
      </dgm:t>
    </dgm:pt>
    <dgm:pt modelId="{1271BDCD-486B-4C82-ACDD-0D6ECF06CF7B}" type="pres">
      <dgm:prSet presAssocID="{974F23AF-BFC7-4577-BBC4-196400DE74BE}" presName="Name0" presStyleCnt="0">
        <dgm:presLayoutVars>
          <dgm:chMax val="8"/>
          <dgm:chPref val="8"/>
          <dgm:dir/>
        </dgm:presLayoutVars>
      </dgm:prSet>
      <dgm:spPr/>
      <dgm:t>
        <a:bodyPr/>
        <a:lstStyle/>
        <a:p>
          <a:pPr rtl="1"/>
          <a:endParaRPr lang="he-IL"/>
        </a:p>
      </dgm:t>
    </dgm:pt>
    <dgm:pt modelId="{6E865477-EEE7-4521-9DA8-9B136205A960}" type="pres">
      <dgm:prSet presAssocID="{EE76E198-BB10-4508-B01E-B6B58EB2D49C}" presName="parent_text_1" presStyleLbl="revTx" presStyleIdx="0" presStyleCnt="4" custLinFactNeighborX="-374" custLinFactNeighborY="3042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569CD2E6-4E06-430F-9CC7-F33B1B6D3F64}" type="pres">
      <dgm:prSet presAssocID="{EE76E198-BB10-4508-B01E-B6B58EB2D49C}" presName="image_accent_1" presStyleCnt="0"/>
      <dgm:spPr/>
    </dgm:pt>
    <dgm:pt modelId="{9A37A6F5-C450-41FE-B8E0-01535600C460}" type="pres">
      <dgm:prSet presAssocID="{EE76E198-BB10-4508-B01E-B6B58EB2D49C}" presName="imageAccentRepeatNode" presStyleLbl="alignNode1" presStyleIdx="0" presStyleCnt="8"/>
      <dgm:spPr/>
    </dgm:pt>
    <dgm:pt modelId="{AC234CEF-9644-4BFB-8A76-005C34F7ACDD}" type="pres">
      <dgm:prSet presAssocID="{EE76E198-BB10-4508-B01E-B6B58EB2D49C}" presName="accent_1" presStyleLbl="alignNode1" presStyleIdx="1" presStyleCnt="8"/>
      <dgm:spPr/>
    </dgm:pt>
    <dgm:pt modelId="{4A76E523-3037-4245-9EEB-2C72FE58F81B}" type="pres">
      <dgm:prSet presAssocID="{688254DE-84D2-43F3-A68E-718A772810E9}" presName="image_1" presStyleCnt="0"/>
      <dgm:spPr/>
    </dgm:pt>
    <dgm:pt modelId="{A65F2616-42E7-46AE-B31A-1C6B7A5A84FB}" type="pres">
      <dgm:prSet presAssocID="{688254DE-84D2-43F3-A68E-718A772810E9}" presName="imageRepeatNode" presStyleLbl="fgImgPlace1" presStyleIdx="0" presStyleCnt="4"/>
      <dgm:spPr/>
      <dgm:t>
        <a:bodyPr/>
        <a:lstStyle/>
        <a:p>
          <a:pPr rtl="1"/>
          <a:endParaRPr lang="he-IL"/>
        </a:p>
      </dgm:t>
    </dgm:pt>
    <dgm:pt modelId="{6599B7FA-B086-4EB8-AFE9-708523DE413D}" type="pres">
      <dgm:prSet presAssocID="{B6F62A9E-4E39-4CEF-8F77-1271727AC815}" presName="parent_text_2" presStyleLbl="revTx" presStyleIdx="1" presStyleCnt="4" custLinFactNeighborX="-190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590E37EE-3F80-49FC-9949-32F1D2B0D489}" type="pres">
      <dgm:prSet presAssocID="{B6F62A9E-4E39-4CEF-8F77-1271727AC815}" presName="image_accent_2" presStyleCnt="0"/>
      <dgm:spPr/>
    </dgm:pt>
    <dgm:pt modelId="{29B75C1C-8AC2-4B2C-A0AA-161E10C2A73D}" type="pres">
      <dgm:prSet presAssocID="{B6F62A9E-4E39-4CEF-8F77-1271727AC815}" presName="imageAccentRepeatNode" presStyleLbl="alignNode1" presStyleIdx="2" presStyleCnt="8"/>
      <dgm:spPr/>
    </dgm:pt>
    <dgm:pt modelId="{698D2AAA-FA1A-4F4E-9970-EF87AC6A40A8}" type="pres">
      <dgm:prSet presAssocID="{CD2173FA-773A-4663-9852-5C2911BC4433}" presName="image_2" presStyleCnt="0"/>
      <dgm:spPr/>
    </dgm:pt>
    <dgm:pt modelId="{B56E4CCB-FF87-4DA0-B16B-5955494E611A}" type="pres">
      <dgm:prSet presAssocID="{CD2173FA-773A-4663-9852-5C2911BC4433}" presName="imageRepeatNode" presStyleLbl="fgImgPlace1" presStyleIdx="1" presStyleCnt="4"/>
      <dgm:spPr/>
      <dgm:t>
        <a:bodyPr/>
        <a:lstStyle/>
        <a:p>
          <a:pPr rtl="1"/>
          <a:endParaRPr lang="he-IL"/>
        </a:p>
      </dgm:t>
    </dgm:pt>
    <dgm:pt modelId="{64613BFB-A93E-4121-B3B5-D615BDD8C732}" type="pres">
      <dgm:prSet presAssocID="{0F3614EA-8B16-44C2-8CE3-5A3F6AFFB9F1}" presName="image_accent_3" presStyleCnt="0"/>
      <dgm:spPr/>
    </dgm:pt>
    <dgm:pt modelId="{DD9C5CA1-F075-46BF-AA4C-0A829BA0BA23}" type="pres">
      <dgm:prSet presAssocID="{0F3614EA-8B16-44C2-8CE3-5A3F6AFFB9F1}" presName="imageAccentRepeatNode" presStyleLbl="alignNode1" presStyleIdx="3" presStyleCnt="8"/>
      <dgm:spPr/>
    </dgm:pt>
    <dgm:pt modelId="{AA54EFDE-2B21-4AD9-B527-CA40100C5BAE}" type="pres">
      <dgm:prSet presAssocID="{0F3614EA-8B16-44C2-8CE3-5A3F6AFFB9F1}" presName="parent_text_3" presStyleLbl="revTx" presStyleIdx="2" presStyleCnt="4" custLinFactNeighborX="-777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D67D27A1-775E-4EA7-8CBF-D04C7ED2FF3F}" type="pres">
      <dgm:prSet presAssocID="{0F3614EA-8B16-44C2-8CE3-5A3F6AFFB9F1}" presName="accent_2" presStyleLbl="alignNode1" presStyleIdx="4" presStyleCnt="8"/>
      <dgm:spPr/>
    </dgm:pt>
    <dgm:pt modelId="{690C630F-7B36-4990-8AAA-0A9573EC6ABC}" type="pres">
      <dgm:prSet presAssocID="{0F3614EA-8B16-44C2-8CE3-5A3F6AFFB9F1}" presName="accent_3" presStyleLbl="alignNode1" presStyleIdx="5" presStyleCnt="8"/>
      <dgm:spPr/>
    </dgm:pt>
    <dgm:pt modelId="{D7AD1426-2B68-4951-89D0-4D3D3F469F67}" type="pres">
      <dgm:prSet presAssocID="{F6550C84-764B-48FD-89C4-8643C34AD7F5}" presName="image_3" presStyleCnt="0"/>
      <dgm:spPr/>
    </dgm:pt>
    <dgm:pt modelId="{F73DC5A2-34B7-4E14-AEDD-60ED3978DB28}" type="pres">
      <dgm:prSet presAssocID="{F6550C84-764B-48FD-89C4-8643C34AD7F5}" presName="imageRepeatNode" presStyleLbl="fgImgPlace1" presStyleIdx="2" presStyleCnt="4"/>
      <dgm:spPr/>
      <dgm:t>
        <a:bodyPr/>
        <a:lstStyle/>
        <a:p>
          <a:pPr rtl="1"/>
          <a:endParaRPr lang="he-IL"/>
        </a:p>
      </dgm:t>
    </dgm:pt>
    <dgm:pt modelId="{825AA54F-DD3F-4690-9F11-6F14FB2E468D}" type="pres">
      <dgm:prSet presAssocID="{53E4DABC-B892-4327-987C-D52E11C237EF}" presName="image_accent_4" presStyleCnt="0"/>
      <dgm:spPr/>
    </dgm:pt>
    <dgm:pt modelId="{2345120A-B4DC-4930-B6FD-0C62BDF789B7}" type="pres">
      <dgm:prSet presAssocID="{53E4DABC-B892-4327-987C-D52E11C237EF}" presName="imageAccentRepeatNode" presStyleLbl="alignNode1" presStyleIdx="6" presStyleCnt="8"/>
      <dgm:spPr/>
    </dgm:pt>
    <dgm:pt modelId="{0E4626FC-36A5-43A4-B794-DBC6AE34F4F4}" type="pres">
      <dgm:prSet presAssocID="{53E4DABC-B892-4327-987C-D52E11C237EF}" presName="parent_text_4" presStyleLbl="revTx" presStyleIdx="3" presStyleCnt="4" custLinFactNeighborX="-981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23E77587-92F1-42E4-A5C1-DB2E0E0154D8}" type="pres">
      <dgm:prSet presAssocID="{53E4DABC-B892-4327-987C-D52E11C237EF}" presName="accent_4" presStyleLbl="alignNode1" presStyleIdx="7" presStyleCnt="8"/>
      <dgm:spPr/>
    </dgm:pt>
    <dgm:pt modelId="{52237665-5353-44C0-B70E-70DA17781012}" type="pres">
      <dgm:prSet presAssocID="{3BD2C050-C6A9-4213-BB9C-F7B856565E4D}" presName="image_4" presStyleCnt="0"/>
      <dgm:spPr/>
    </dgm:pt>
    <dgm:pt modelId="{6310A138-0FD1-445F-A19F-3959B90DD71A}" type="pres">
      <dgm:prSet presAssocID="{3BD2C050-C6A9-4213-BB9C-F7B856565E4D}" presName="imageRepeatNode" presStyleLbl="fgImgPlace1" presStyleIdx="3" presStyleCnt="4"/>
      <dgm:spPr/>
      <dgm:t>
        <a:bodyPr/>
        <a:lstStyle/>
        <a:p>
          <a:pPr rtl="1"/>
          <a:endParaRPr lang="he-IL"/>
        </a:p>
      </dgm:t>
    </dgm:pt>
  </dgm:ptLst>
  <dgm:cxnLst>
    <dgm:cxn modelId="{AC20292B-509A-4938-A762-AA5B6C8C0E7B}" type="presOf" srcId="{B6F62A9E-4E39-4CEF-8F77-1271727AC815}" destId="{6599B7FA-B086-4EB8-AFE9-708523DE413D}" srcOrd="0" destOrd="0" presId="urn:microsoft.com/office/officeart/2008/layout/BubblePictureList"/>
    <dgm:cxn modelId="{A22C180E-69F5-43EE-90D9-0AC5102E8F49}" srcId="{974F23AF-BFC7-4577-BBC4-196400DE74BE}" destId="{EE76E198-BB10-4508-B01E-B6B58EB2D49C}" srcOrd="0" destOrd="0" parTransId="{543F0DD6-C120-4665-A7B9-02D0B2DBFAF4}" sibTransId="{688254DE-84D2-43F3-A68E-718A772810E9}"/>
    <dgm:cxn modelId="{84A170AB-A234-48A2-802E-2192B4D770C5}" type="presOf" srcId="{EE76E198-BB10-4508-B01E-B6B58EB2D49C}" destId="{6E865477-EEE7-4521-9DA8-9B136205A960}" srcOrd="0" destOrd="0" presId="urn:microsoft.com/office/officeart/2008/layout/BubblePictureList"/>
    <dgm:cxn modelId="{B72E89BD-A090-451F-9A8C-BBD921C64576}" type="presOf" srcId="{CD2173FA-773A-4663-9852-5C2911BC4433}" destId="{B56E4CCB-FF87-4DA0-B16B-5955494E611A}" srcOrd="0" destOrd="0" presId="urn:microsoft.com/office/officeart/2008/layout/BubblePictureList"/>
    <dgm:cxn modelId="{527967DB-70B4-43BC-A6B9-EECF5EA879EB}" type="presOf" srcId="{53E4DABC-B892-4327-987C-D52E11C237EF}" destId="{0E4626FC-36A5-43A4-B794-DBC6AE34F4F4}" srcOrd="0" destOrd="0" presId="urn:microsoft.com/office/officeart/2008/layout/BubblePictureList"/>
    <dgm:cxn modelId="{E55B3CBC-142D-4F2A-9435-0911BADC567E}" srcId="{974F23AF-BFC7-4577-BBC4-196400DE74BE}" destId="{B6F62A9E-4E39-4CEF-8F77-1271727AC815}" srcOrd="1" destOrd="0" parTransId="{29591523-22A0-423E-B474-6F17EB43177F}" sibTransId="{CD2173FA-773A-4663-9852-5C2911BC4433}"/>
    <dgm:cxn modelId="{14868074-084B-4BD2-9C31-594CB6330BA3}" srcId="{974F23AF-BFC7-4577-BBC4-196400DE74BE}" destId="{53E4DABC-B892-4327-987C-D52E11C237EF}" srcOrd="3" destOrd="0" parTransId="{2631E0BA-0201-4B83-8987-470992D07F94}" sibTransId="{3BD2C050-C6A9-4213-BB9C-F7B856565E4D}"/>
    <dgm:cxn modelId="{73579652-21CA-472C-B019-4D5BDE749FA2}" type="presOf" srcId="{688254DE-84D2-43F3-A68E-718A772810E9}" destId="{A65F2616-42E7-46AE-B31A-1C6B7A5A84FB}" srcOrd="0" destOrd="0" presId="urn:microsoft.com/office/officeart/2008/layout/BubblePictureList"/>
    <dgm:cxn modelId="{5AC7E4F0-FA51-4D75-8527-6BEC78E4D3E6}" type="presOf" srcId="{3BD2C050-C6A9-4213-BB9C-F7B856565E4D}" destId="{6310A138-0FD1-445F-A19F-3959B90DD71A}" srcOrd="0" destOrd="0" presId="urn:microsoft.com/office/officeart/2008/layout/BubblePictureList"/>
    <dgm:cxn modelId="{1C3EFA29-61F8-427C-A4E5-7E338821BF60}" srcId="{974F23AF-BFC7-4577-BBC4-196400DE74BE}" destId="{0F3614EA-8B16-44C2-8CE3-5A3F6AFFB9F1}" srcOrd="2" destOrd="0" parTransId="{AD5066B2-1059-4319-8693-58CB822AB391}" sibTransId="{F6550C84-764B-48FD-89C4-8643C34AD7F5}"/>
    <dgm:cxn modelId="{51C8DAED-34AA-434D-AA3A-CF04024EC79D}" type="presOf" srcId="{F6550C84-764B-48FD-89C4-8643C34AD7F5}" destId="{F73DC5A2-34B7-4E14-AEDD-60ED3978DB28}" srcOrd="0" destOrd="0" presId="urn:microsoft.com/office/officeart/2008/layout/BubblePictureList"/>
    <dgm:cxn modelId="{1C230D96-4183-4CE0-9653-633B4A077971}" type="presOf" srcId="{0F3614EA-8B16-44C2-8CE3-5A3F6AFFB9F1}" destId="{AA54EFDE-2B21-4AD9-B527-CA40100C5BAE}" srcOrd="0" destOrd="0" presId="urn:microsoft.com/office/officeart/2008/layout/BubblePictureList"/>
    <dgm:cxn modelId="{24E79F99-3EB0-4E9D-9FD5-F76020A3BFD1}" type="presOf" srcId="{974F23AF-BFC7-4577-BBC4-196400DE74BE}" destId="{1271BDCD-486B-4C82-ACDD-0D6ECF06CF7B}" srcOrd="0" destOrd="0" presId="urn:microsoft.com/office/officeart/2008/layout/BubblePictureList"/>
    <dgm:cxn modelId="{ED53651C-9BEA-46A1-88C2-E950CD0966AA}" type="presParOf" srcId="{1271BDCD-486B-4C82-ACDD-0D6ECF06CF7B}" destId="{6E865477-EEE7-4521-9DA8-9B136205A960}" srcOrd="0" destOrd="0" presId="urn:microsoft.com/office/officeart/2008/layout/BubblePictureList"/>
    <dgm:cxn modelId="{6221E1C1-E465-483A-AD59-5952290F1FA4}" type="presParOf" srcId="{1271BDCD-486B-4C82-ACDD-0D6ECF06CF7B}" destId="{569CD2E6-4E06-430F-9CC7-F33B1B6D3F64}" srcOrd="1" destOrd="0" presId="urn:microsoft.com/office/officeart/2008/layout/BubblePictureList"/>
    <dgm:cxn modelId="{76C82003-C20F-44FE-89B2-59F0DECFDBF8}" type="presParOf" srcId="{569CD2E6-4E06-430F-9CC7-F33B1B6D3F64}" destId="{9A37A6F5-C450-41FE-B8E0-01535600C460}" srcOrd="0" destOrd="0" presId="urn:microsoft.com/office/officeart/2008/layout/BubblePictureList"/>
    <dgm:cxn modelId="{9F0F6B90-E2A9-4167-85AA-1FF1BD7B0477}" type="presParOf" srcId="{1271BDCD-486B-4C82-ACDD-0D6ECF06CF7B}" destId="{AC234CEF-9644-4BFB-8A76-005C34F7ACDD}" srcOrd="2" destOrd="0" presId="urn:microsoft.com/office/officeart/2008/layout/BubblePictureList"/>
    <dgm:cxn modelId="{32BDED81-1A40-44DE-91CE-359F55ECCFF5}" type="presParOf" srcId="{1271BDCD-486B-4C82-ACDD-0D6ECF06CF7B}" destId="{4A76E523-3037-4245-9EEB-2C72FE58F81B}" srcOrd="3" destOrd="0" presId="urn:microsoft.com/office/officeart/2008/layout/BubblePictureList"/>
    <dgm:cxn modelId="{EC2B7623-4D11-407F-A150-BEAC969687F1}" type="presParOf" srcId="{4A76E523-3037-4245-9EEB-2C72FE58F81B}" destId="{A65F2616-42E7-46AE-B31A-1C6B7A5A84FB}" srcOrd="0" destOrd="0" presId="urn:microsoft.com/office/officeart/2008/layout/BubblePictureList"/>
    <dgm:cxn modelId="{583D1DAB-5E93-4DA2-9B20-FC87A5D42EB6}" type="presParOf" srcId="{1271BDCD-486B-4C82-ACDD-0D6ECF06CF7B}" destId="{6599B7FA-B086-4EB8-AFE9-708523DE413D}" srcOrd="4" destOrd="0" presId="urn:microsoft.com/office/officeart/2008/layout/BubblePictureList"/>
    <dgm:cxn modelId="{68A092AA-214A-47EA-9E03-9DDE538B34E0}" type="presParOf" srcId="{1271BDCD-486B-4C82-ACDD-0D6ECF06CF7B}" destId="{590E37EE-3F80-49FC-9949-32F1D2B0D489}" srcOrd="5" destOrd="0" presId="urn:microsoft.com/office/officeart/2008/layout/BubblePictureList"/>
    <dgm:cxn modelId="{91447672-9524-4D5B-AA43-644D99050FBC}" type="presParOf" srcId="{590E37EE-3F80-49FC-9949-32F1D2B0D489}" destId="{29B75C1C-8AC2-4B2C-A0AA-161E10C2A73D}" srcOrd="0" destOrd="0" presId="urn:microsoft.com/office/officeart/2008/layout/BubblePictureList"/>
    <dgm:cxn modelId="{B26FCFDD-4AED-4D4C-AEC0-8521482C8351}" type="presParOf" srcId="{1271BDCD-486B-4C82-ACDD-0D6ECF06CF7B}" destId="{698D2AAA-FA1A-4F4E-9970-EF87AC6A40A8}" srcOrd="6" destOrd="0" presId="urn:microsoft.com/office/officeart/2008/layout/BubblePictureList"/>
    <dgm:cxn modelId="{FB134BB0-1722-408A-AB77-B1464E60550C}" type="presParOf" srcId="{698D2AAA-FA1A-4F4E-9970-EF87AC6A40A8}" destId="{B56E4CCB-FF87-4DA0-B16B-5955494E611A}" srcOrd="0" destOrd="0" presId="urn:microsoft.com/office/officeart/2008/layout/BubblePictureList"/>
    <dgm:cxn modelId="{D42BDF56-8648-4CB3-BCE7-0E79793F21A0}" type="presParOf" srcId="{1271BDCD-486B-4C82-ACDD-0D6ECF06CF7B}" destId="{64613BFB-A93E-4121-B3B5-D615BDD8C732}" srcOrd="7" destOrd="0" presId="urn:microsoft.com/office/officeart/2008/layout/BubblePictureList"/>
    <dgm:cxn modelId="{27ADF4CC-535F-4749-ACA9-00E564653B1F}" type="presParOf" srcId="{64613BFB-A93E-4121-B3B5-D615BDD8C732}" destId="{DD9C5CA1-F075-46BF-AA4C-0A829BA0BA23}" srcOrd="0" destOrd="0" presId="urn:microsoft.com/office/officeart/2008/layout/BubblePictureList"/>
    <dgm:cxn modelId="{B7BB7F36-CBA7-4233-B2FC-61476022CF84}" type="presParOf" srcId="{1271BDCD-486B-4C82-ACDD-0D6ECF06CF7B}" destId="{AA54EFDE-2B21-4AD9-B527-CA40100C5BAE}" srcOrd="8" destOrd="0" presId="urn:microsoft.com/office/officeart/2008/layout/BubblePictureList"/>
    <dgm:cxn modelId="{EECA2767-6676-46A2-B8D0-20FABD328AAF}" type="presParOf" srcId="{1271BDCD-486B-4C82-ACDD-0D6ECF06CF7B}" destId="{D67D27A1-775E-4EA7-8CBF-D04C7ED2FF3F}" srcOrd="9" destOrd="0" presId="urn:microsoft.com/office/officeart/2008/layout/BubblePictureList"/>
    <dgm:cxn modelId="{D17443E7-0DA5-4094-82B4-299ABD76A0A2}" type="presParOf" srcId="{1271BDCD-486B-4C82-ACDD-0D6ECF06CF7B}" destId="{690C630F-7B36-4990-8AAA-0A9573EC6ABC}" srcOrd="10" destOrd="0" presId="urn:microsoft.com/office/officeart/2008/layout/BubblePictureList"/>
    <dgm:cxn modelId="{632D7BCF-3693-4533-B920-16E672088018}" type="presParOf" srcId="{1271BDCD-486B-4C82-ACDD-0D6ECF06CF7B}" destId="{D7AD1426-2B68-4951-89D0-4D3D3F469F67}" srcOrd="11" destOrd="0" presId="urn:microsoft.com/office/officeart/2008/layout/BubblePictureList"/>
    <dgm:cxn modelId="{C8E299AF-9ACD-4344-B6C3-9601A127B1D7}" type="presParOf" srcId="{D7AD1426-2B68-4951-89D0-4D3D3F469F67}" destId="{F73DC5A2-34B7-4E14-AEDD-60ED3978DB28}" srcOrd="0" destOrd="0" presId="urn:microsoft.com/office/officeart/2008/layout/BubblePictureList"/>
    <dgm:cxn modelId="{0FD72A2D-F2FA-4D16-8304-9FD94EDA46AC}" type="presParOf" srcId="{1271BDCD-486B-4C82-ACDD-0D6ECF06CF7B}" destId="{825AA54F-DD3F-4690-9F11-6F14FB2E468D}" srcOrd="12" destOrd="0" presId="urn:microsoft.com/office/officeart/2008/layout/BubblePictureList"/>
    <dgm:cxn modelId="{CA17C56C-D6E4-41C4-9815-FE4C25C9F371}" type="presParOf" srcId="{825AA54F-DD3F-4690-9F11-6F14FB2E468D}" destId="{2345120A-B4DC-4930-B6FD-0C62BDF789B7}" srcOrd="0" destOrd="0" presId="urn:microsoft.com/office/officeart/2008/layout/BubblePictureList"/>
    <dgm:cxn modelId="{3AB99BF3-C0CF-4975-A6AD-BDF12E546033}" type="presParOf" srcId="{1271BDCD-486B-4C82-ACDD-0D6ECF06CF7B}" destId="{0E4626FC-36A5-43A4-B794-DBC6AE34F4F4}" srcOrd="13" destOrd="0" presId="urn:microsoft.com/office/officeart/2008/layout/BubblePictureList"/>
    <dgm:cxn modelId="{2A1B7573-2E7A-4527-815C-9C29A1BA90F9}" type="presParOf" srcId="{1271BDCD-486B-4C82-ACDD-0D6ECF06CF7B}" destId="{23E77587-92F1-42E4-A5C1-DB2E0E0154D8}" srcOrd="14" destOrd="0" presId="urn:microsoft.com/office/officeart/2008/layout/BubblePictureList"/>
    <dgm:cxn modelId="{26D80405-34B1-460B-9297-3994FCBAA391}" type="presParOf" srcId="{1271BDCD-486B-4C82-ACDD-0D6ECF06CF7B}" destId="{52237665-5353-44C0-B70E-70DA17781012}" srcOrd="15" destOrd="0" presId="urn:microsoft.com/office/officeart/2008/layout/BubblePictureList"/>
    <dgm:cxn modelId="{4808610D-DC2E-4A8D-8D45-16EB7DB1F1F2}" type="presParOf" srcId="{52237665-5353-44C0-B70E-70DA17781012}" destId="{6310A138-0FD1-445F-A19F-3959B90DD71A}" srcOrd="0" destOrd="0" presId="urn:microsoft.com/office/officeart/2008/layout/BubblePictur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FFD6D6BE-5C5B-4595-9BF8-60CB7E45EAD7}" type="doc">
      <dgm:prSet loTypeId="urn:microsoft.com/office/officeart/2005/8/layout/hList6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AB3D7BC-000C-4B1D-BD00-C9E2DCDA189E}">
      <dgm:prSet phldrT="[Text]"/>
      <dgm:spPr/>
      <dgm:t>
        <a:bodyPr/>
        <a:lstStyle/>
        <a:p>
          <a:r>
            <a:rPr lang="en-US" dirty="0" smtClean="0"/>
            <a:t>Hadoop</a:t>
          </a:r>
          <a:endParaRPr lang="en-US" dirty="0"/>
        </a:p>
      </dgm:t>
    </dgm:pt>
    <dgm:pt modelId="{E5B4D1A9-4AAC-46F6-A251-B3F614140173}" type="parTrans" cxnId="{12B680C3-A540-4C55-9268-05591185640D}">
      <dgm:prSet/>
      <dgm:spPr/>
      <dgm:t>
        <a:bodyPr/>
        <a:lstStyle/>
        <a:p>
          <a:endParaRPr lang="en-US"/>
        </a:p>
      </dgm:t>
    </dgm:pt>
    <dgm:pt modelId="{2D9D35DD-CC29-4B29-A223-C47C1C1CEA5B}" type="sibTrans" cxnId="{12B680C3-A540-4C55-9268-05591185640D}">
      <dgm:prSet/>
      <dgm:spPr/>
      <dgm:t>
        <a:bodyPr/>
        <a:lstStyle/>
        <a:p>
          <a:endParaRPr lang="en-US"/>
        </a:p>
      </dgm:t>
    </dgm:pt>
    <dgm:pt modelId="{1D21D7DB-9415-496D-90DA-75C6C4F101DA}">
      <dgm:prSet phldrT="[Text]"/>
      <dgm:spPr/>
      <dgm:t>
        <a:bodyPr/>
        <a:lstStyle/>
        <a:p>
          <a:r>
            <a:rPr lang="en-US" dirty="0" smtClean="0"/>
            <a:t>Poly-Structured</a:t>
          </a:r>
          <a:endParaRPr lang="en-US" dirty="0"/>
        </a:p>
      </dgm:t>
    </dgm:pt>
    <dgm:pt modelId="{24866341-C47A-44EA-A822-02FD8724CD8C}" type="parTrans" cxnId="{3A90526E-51B2-4D0F-A0A3-4B34339EF9D8}">
      <dgm:prSet/>
      <dgm:spPr/>
      <dgm:t>
        <a:bodyPr/>
        <a:lstStyle/>
        <a:p>
          <a:endParaRPr lang="en-US"/>
        </a:p>
      </dgm:t>
    </dgm:pt>
    <dgm:pt modelId="{DB8643D6-4119-4D4F-BD19-DEC7FFF09BA0}" type="sibTrans" cxnId="{3A90526E-51B2-4D0F-A0A3-4B34339EF9D8}">
      <dgm:prSet/>
      <dgm:spPr/>
      <dgm:t>
        <a:bodyPr/>
        <a:lstStyle/>
        <a:p>
          <a:endParaRPr lang="en-US"/>
        </a:p>
      </dgm:t>
    </dgm:pt>
    <dgm:pt modelId="{94909E01-923A-41FB-B0AB-A43939427DD1}">
      <dgm:prSet phldrT="[Text]"/>
      <dgm:spPr/>
      <dgm:t>
        <a:bodyPr/>
        <a:lstStyle/>
        <a:p>
          <a:r>
            <a:rPr lang="en-US" dirty="0" smtClean="0"/>
            <a:t>Massively Parallel Processing</a:t>
          </a:r>
          <a:endParaRPr lang="en-US" dirty="0"/>
        </a:p>
      </dgm:t>
    </dgm:pt>
    <dgm:pt modelId="{C7D38F5C-576A-459C-AF0B-2EF09B35C932}" type="parTrans" cxnId="{0434E86B-5DD2-4D61-BA93-6F6263CDECAB}">
      <dgm:prSet/>
      <dgm:spPr/>
      <dgm:t>
        <a:bodyPr/>
        <a:lstStyle/>
        <a:p>
          <a:endParaRPr lang="en-US"/>
        </a:p>
      </dgm:t>
    </dgm:pt>
    <dgm:pt modelId="{42B2DF36-87BD-4429-AA16-173A551D7F5C}" type="sibTrans" cxnId="{0434E86B-5DD2-4D61-BA93-6F6263CDECAB}">
      <dgm:prSet/>
      <dgm:spPr/>
      <dgm:t>
        <a:bodyPr/>
        <a:lstStyle/>
        <a:p>
          <a:endParaRPr lang="en-US"/>
        </a:p>
      </dgm:t>
    </dgm:pt>
    <dgm:pt modelId="{B7246314-51E0-430F-B960-BCA0DE796C96}">
      <dgm:prSet phldrT="[Text]"/>
      <dgm:spPr/>
      <dgm:t>
        <a:bodyPr/>
        <a:lstStyle/>
        <a:p>
          <a:r>
            <a:rPr lang="en-US" dirty="0" smtClean="0"/>
            <a:t>Structured</a:t>
          </a:r>
          <a:endParaRPr lang="en-US" dirty="0"/>
        </a:p>
      </dgm:t>
    </dgm:pt>
    <dgm:pt modelId="{84DC8BF5-BE15-4832-BE28-C77FE80E78BC}" type="parTrans" cxnId="{93446BD6-F78B-4C68-B1DB-E352640F16CB}">
      <dgm:prSet/>
      <dgm:spPr/>
      <dgm:t>
        <a:bodyPr/>
        <a:lstStyle/>
        <a:p>
          <a:endParaRPr lang="en-US"/>
        </a:p>
      </dgm:t>
    </dgm:pt>
    <dgm:pt modelId="{BE040030-4C73-466D-8FA0-EC926871AA20}" type="sibTrans" cxnId="{93446BD6-F78B-4C68-B1DB-E352640F16CB}">
      <dgm:prSet/>
      <dgm:spPr/>
      <dgm:t>
        <a:bodyPr/>
        <a:lstStyle/>
        <a:p>
          <a:endParaRPr lang="en-US"/>
        </a:p>
      </dgm:t>
    </dgm:pt>
    <dgm:pt modelId="{BE16B2E2-53D9-4735-911F-EB641FCF52D9}">
      <dgm:prSet phldrT="[Text]"/>
      <dgm:spPr/>
      <dgm:t>
        <a:bodyPr/>
        <a:lstStyle/>
        <a:p>
          <a:r>
            <a:rPr lang="en-US" dirty="0" smtClean="0"/>
            <a:t>NoSQL</a:t>
          </a:r>
          <a:endParaRPr lang="en-US" dirty="0"/>
        </a:p>
      </dgm:t>
    </dgm:pt>
    <dgm:pt modelId="{56595FC8-4A6B-418E-8B6C-FCEC16802B03}" type="parTrans" cxnId="{F3D2FAF2-6AF4-411E-B501-7ADC9440B1B8}">
      <dgm:prSet/>
      <dgm:spPr/>
      <dgm:t>
        <a:bodyPr/>
        <a:lstStyle/>
        <a:p>
          <a:endParaRPr lang="en-US"/>
        </a:p>
      </dgm:t>
    </dgm:pt>
    <dgm:pt modelId="{61E425AB-D50D-4D75-B77F-84AE89E397BA}" type="sibTrans" cxnId="{F3D2FAF2-6AF4-411E-B501-7ADC9440B1B8}">
      <dgm:prSet/>
      <dgm:spPr/>
      <dgm:t>
        <a:bodyPr/>
        <a:lstStyle/>
        <a:p>
          <a:endParaRPr lang="en-US"/>
        </a:p>
      </dgm:t>
    </dgm:pt>
    <dgm:pt modelId="{C006EF69-32C5-465D-BE63-8AD2FED6429C}">
      <dgm:prSet phldrT="[Text]"/>
      <dgm:spPr/>
      <dgm:t>
        <a:bodyPr/>
        <a:lstStyle/>
        <a:p>
          <a:r>
            <a:rPr lang="en-US" dirty="0" smtClean="0"/>
            <a:t>Semi-Structured</a:t>
          </a:r>
          <a:endParaRPr lang="en-US" dirty="0"/>
        </a:p>
      </dgm:t>
    </dgm:pt>
    <dgm:pt modelId="{CB0146FF-4179-4E32-B5FD-91712A4E35BE}" type="parTrans" cxnId="{94BFE872-ACA0-439F-B0D8-DF70A498134A}">
      <dgm:prSet/>
      <dgm:spPr/>
      <dgm:t>
        <a:bodyPr/>
        <a:lstStyle/>
        <a:p>
          <a:endParaRPr lang="en-US"/>
        </a:p>
      </dgm:t>
    </dgm:pt>
    <dgm:pt modelId="{55D05B15-3D65-4F88-927A-1210B4BD93B3}" type="sibTrans" cxnId="{94BFE872-ACA0-439F-B0D8-DF70A498134A}">
      <dgm:prSet/>
      <dgm:spPr/>
      <dgm:t>
        <a:bodyPr/>
        <a:lstStyle/>
        <a:p>
          <a:endParaRPr lang="en-US"/>
        </a:p>
      </dgm:t>
    </dgm:pt>
    <dgm:pt modelId="{A1859BE2-85FA-4439-97F8-1171F1851986}">
      <dgm:prSet phldrT="[Text]"/>
      <dgm:spPr/>
      <dgm:t>
        <a:bodyPr/>
        <a:lstStyle/>
        <a:p>
          <a:r>
            <a:rPr lang="en-US" smtClean="0"/>
            <a:t>Key-Value</a:t>
          </a:r>
          <a:endParaRPr lang="en-US" dirty="0"/>
        </a:p>
      </dgm:t>
    </dgm:pt>
    <dgm:pt modelId="{41044DC2-FB78-4543-B40D-9FC94A3A96A8}" type="parTrans" cxnId="{7AC83CA4-A1B4-48CA-BD62-5DFBB275DC64}">
      <dgm:prSet/>
      <dgm:spPr/>
      <dgm:t>
        <a:bodyPr/>
        <a:lstStyle/>
        <a:p>
          <a:endParaRPr lang="en-US"/>
        </a:p>
      </dgm:t>
    </dgm:pt>
    <dgm:pt modelId="{113EF072-7F7A-4308-B463-CC52A89ACCEE}" type="sibTrans" cxnId="{7AC83CA4-A1B4-48CA-BD62-5DFBB275DC64}">
      <dgm:prSet/>
      <dgm:spPr/>
      <dgm:t>
        <a:bodyPr/>
        <a:lstStyle/>
        <a:p>
          <a:endParaRPr lang="en-US"/>
        </a:p>
      </dgm:t>
    </dgm:pt>
    <dgm:pt modelId="{E8707817-1BA8-45E7-97DE-31D1788E20CA}" type="pres">
      <dgm:prSet presAssocID="{FFD6D6BE-5C5B-4595-9BF8-60CB7E45EAD7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612A08E-EF2D-4551-98E9-F50583DF3651}" type="pres">
      <dgm:prSet presAssocID="{AAB3D7BC-000C-4B1D-BD00-C9E2DCDA189E}" presName="node" presStyleLbl="node1" presStyleIdx="0" presStyleCnt="3" custLinFactNeighborX="-5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B309AF-9626-4AAB-946F-C55D2FB547AA}" type="pres">
      <dgm:prSet presAssocID="{2D9D35DD-CC29-4B29-A223-C47C1C1CEA5B}" presName="sibTrans" presStyleCnt="0"/>
      <dgm:spPr/>
    </dgm:pt>
    <dgm:pt modelId="{381CC3FA-2451-41B1-BCBC-09CF1327E960}" type="pres">
      <dgm:prSet presAssocID="{94909E01-923A-41FB-B0AB-A43939427DD1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22BEC3-A33D-4B82-B844-D0FDD137467A}" type="pres">
      <dgm:prSet presAssocID="{42B2DF36-87BD-4429-AA16-173A551D7F5C}" presName="sibTrans" presStyleCnt="0"/>
      <dgm:spPr/>
    </dgm:pt>
    <dgm:pt modelId="{EE7376B9-5B39-4250-9165-A1687F7006B4}" type="pres">
      <dgm:prSet presAssocID="{BE16B2E2-53D9-4735-911F-EB641FCF52D9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4BFE872-ACA0-439F-B0D8-DF70A498134A}" srcId="{BE16B2E2-53D9-4735-911F-EB641FCF52D9}" destId="{C006EF69-32C5-465D-BE63-8AD2FED6429C}" srcOrd="0" destOrd="0" parTransId="{CB0146FF-4179-4E32-B5FD-91712A4E35BE}" sibTransId="{55D05B15-3D65-4F88-927A-1210B4BD93B3}"/>
    <dgm:cxn modelId="{12B680C3-A540-4C55-9268-05591185640D}" srcId="{FFD6D6BE-5C5B-4595-9BF8-60CB7E45EAD7}" destId="{AAB3D7BC-000C-4B1D-BD00-C9E2DCDA189E}" srcOrd="0" destOrd="0" parTransId="{E5B4D1A9-4AAC-46F6-A251-B3F614140173}" sibTransId="{2D9D35DD-CC29-4B29-A223-C47C1C1CEA5B}"/>
    <dgm:cxn modelId="{F9C0B301-D870-4AC2-A933-2FC614B952BA}" type="presOf" srcId="{B7246314-51E0-430F-B960-BCA0DE796C96}" destId="{381CC3FA-2451-41B1-BCBC-09CF1327E960}" srcOrd="0" destOrd="1" presId="urn:microsoft.com/office/officeart/2005/8/layout/hList6"/>
    <dgm:cxn modelId="{6D9B91A8-023E-4B84-9937-10376B7B540D}" type="presOf" srcId="{FFD6D6BE-5C5B-4595-9BF8-60CB7E45EAD7}" destId="{E8707817-1BA8-45E7-97DE-31D1788E20CA}" srcOrd="0" destOrd="0" presId="urn:microsoft.com/office/officeart/2005/8/layout/hList6"/>
    <dgm:cxn modelId="{F3D2FAF2-6AF4-411E-B501-7ADC9440B1B8}" srcId="{FFD6D6BE-5C5B-4595-9BF8-60CB7E45EAD7}" destId="{BE16B2E2-53D9-4735-911F-EB641FCF52D9}" srcOrd="2" destOrd="0" parTransId="{56595FC8-4A6B-418E-8B6C-FCEC16802B03}" sibTransId="{61E425AB-D50D-4D75-B77F-84AE89E397BA}"/>
    <dgm:cxn modelId="{A5B8F997-EEBA-415E-ACC1-1A9F416EE231}" type="presOf" srcId="{1D21D7DB-9415-496D-90DA-75C6C4F101DA}" destId="{6612A08E-EF2D-4551-98E9-F50583DF3651}" srcOrd="0" destOrd="1" presId="urn:microsoft.com/office/officeart/2005/8/layout/hList6"/>
    <dgm:cxn modelId="{3A90526E-51B2-4D0F-A0A3-4B34339EF9D8}" srcId="{AAB3D7BC-000C-4B1D-BD00-C9E2DCDA189E}" destId="{1D21D7DB-9415-496D-90DA-75C6C4F101DA}" srcOrd="0" destOrd="0" parTransId="{24866341-C47A-44EA-A822-02FD8724CD8C}" sibTransId="{DB8643D6-4119-4D4F-BD19-DEC7FFF09BA0}"/>
    <dgm:cxn modelId="{B5E87681-5567-4622-9555-995393D9E2BF}" type="presOf" srcId="{C006EF69-32C5-465D-BE63-8AD2FED6429C}" destId="{EE7376B9-5B39-4250-9165-A1687F7006B4}" srcOrd="0" destOrd="1" presId="urn:microsoft.com/office/officeart/2005/8/layout/hList6"/>
    <dgm:cxn modelId="{91A69789-59A8-4EF0-B446-868F5724D8D6}" type="presOf" srcId="{94909E01-923A-41FB-B0AB-A43939427DD1}" destId="{381CC3FA-2451-41B1-BCBC-09CF1327E960}" srcOrd="0" destOrd="0" presId="urn:microsoft.com/office/officeart/2005/8/layout/hList6"/>
    <dgm:cxn modelId="{0434E86B-5DD2-4D61-BA93-6F6263CDECAB}" srcId="{FFD6D6BE-5C5B-4595-9BF8-60CB7E45EAD7}" destId="{94909E01-923A-41FB-B0AB-A43939427DD1}" srcOrd="1" destOrd="0" parTransId="{C7D38F5C-576A-459C-AF0B-2EF09B35C932}" sibTransId="{42B2DF36-87BD-4429-AA16-173A551D7F5C}"/>
    <dgm:cxn modelId="{CE4F6062-A544-472A-8A32-22D3C34B8511}" type="presOf" srcId="{A1859BE2-85FA-4439-97F8-1171F1851986}" destId="{EE7376B9-5B39-4250-9165-A1687F7006B4}" srcOrd="0" destOrd="2" presId="urn:microsoft.com/office/officeart/2005/8/layout/hList6"/>
    <dgm:cxn modelId="{4391167D-7086-4EBF-9CFD-5AA64FF0219A}" type="presOf" srcId="{AAB3D7BC-000C-4B1D-BD00-C9E2DCDA189E}" destId="{6612A08E-EF2D-4551-98E9-F50583DF3651}" srcOrd="0" destOrd="0" presId="urn:microsoft.com/office/officeart/2005/8/layout/hList6"/>
    <dgm:cxn modelId="{7AC83CA4-A1B4-48CA-BD62-5DFBB275DC64}" srcId="{BE16B2E2-53D9-4735-911F-EB641FCF52D9}" destId="{A1859BE2-85FA-4439-97F8-1171F1851986}" srcOrd="1" destOrd="0" parTransId="{41044DC2-FB78-4543-B40D-9FC94A3A96A8}" sibTransId="{113EF072-7F7A-4308-B463-CC52A89ACCEE}"/>
    <dgm:cxn modelId="{34656EBB-6335-4E44-BC41-6F45DBC7AAC7}" type="presOf" srcId="{BE16B2E2-53D9-4735-911F-EB641FCF52D9}" destId="{EE7376B9-5B39-4250-9165-A1687F7006B4}" srcOrd="0" destOrd="0" presId="urn:microsoft.com/office/officeart/2005/8/layout/hList6"/>
    <dgm:cxn modelId="{93446BD6-F78B-4C68-B1DB-E352640F16CB}" srcId="{94909E01-923A-41FB-B0AB-A43939427DD1}" destId="{B7246314-51E0-430F-B960-BCA0DE796C96}" srcOrd="0" destOrd="0" parTransId="{84DC8BF5-BE15-4832-BE28-C77FE80E78BC}" sibTransId="{BE040030-4C73-466D-8FA0-EC926871AA20}"/>
    <dgm:cxn modelId="{4C4B0E26-D4B5-42D2-A9BE-906B3BEA2A97}" type="presParOf" srcId="{E8707817-1BA8-45E7-97DE-31D1788E20CA}" destId="{6612A08E-EF2D-4551-98E9-F50583DF3651}" srcOrd="0" destOrd="0" presId="urn:microsoft.com/office/officeart/2005/8/layout/hList6"/>
    <dgm:cxn modelId="{10F457D0-0E06-447E-AE8E-D474D20F2287}" type="presParOf" srcId="{E8707817-1BA8-45E7-97DE-31D1788E20CA}" destId="{7EB309AF-9626-4AAB-946F-C55D2FB547AA}" srcOrd="1" destOrd="0" presId="urn:microsoft.com/office/officeart/2005/8/layout/hList6"/>
    <dgm:cxn modelId="{9C5843C7-3079-43AB-8A57-F237ED6310D6}" type="presParOf" srcId="{E8707817-1BA8-45E7-97DE-31D1788E20CA}" destId="{381CC3FA-2451-41B1-BCBC-09CF1327E960}" srcOrd="2" destOrd="0" presId="urn:microsoft.com/office/officeart/2005/8/layout/hList6"/>
    <dgm:cxn modelId="{AC6D41A2-2500-43B3-AFAA-DFAA0E12F16B}" type="presParOf" srcId="{E8707817-1BA8-45E7-97DE-31D1788E20CA}" destId="{4122BEC3-A33D-4B82-B844-D0FDD137467A}" srcOrd="3" destOrd="0" presId="urn:microsoft.com/office/officeart/2005/8/layout/hList6"/>
    <dgm:cxn modelId="{66974CA7-A1DA-4A0F-A29A-ADB2CB94261E}" type="presParOf" srcId="{E8707817-1BA8-45E7-97DE-31D1788E20CA}" destId="{EE7376B9-5B39-4250-9165-A1687F7006B4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D09B8357-42B5-41FB-B096-88F2A18192BC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4C991A8-59F1-4270-8A9C-388FF6BB5DA6}">
      <dgm:prSet phldrT="[Text]"/>
      <dgm:spPr/>
      <dgm:t>
        <a:bodyPr/>
        <a:lstStyle/>
        <a:p>
          <a:r>
            <a:rPr lang="en-US" dirty="0" smtClean="0"/>
            <a:t>Massively Parallel Processing</a:t>
          </a:r>
          <a:endParaRPr lang="en-US" dirty="0"/>
        </a:p>
      </dgm:t>
    </dgm:pt>
    <dgm:pt modelId="{C6AB4DA2-2795-478D-80C1-A82CAC6EA278}" type="parTrans" cxnId="{F2141A3F-19D9-4EFF-9B0A-62CCA3F50FF9}">
      <dgm:prSet/>
      <dgm:spPr/>
      <dgm:t>
        <a:bodyPr/>
        <a:lstStyle/>
        <a:p>
          <a:endParaRPr lang="en-US"/>
        </a:p>
      </dgm:t>
    </dgm:pt>
    <dgm:pt modelId="{A94B002C-24F5-4B10-9DFF-C7705C80E21E}" type="sibTrans" cxnId="{F2141A3F-19D9-4EFF-9B0A-62CCA3F50FF9}">
      <dgm:prSet/>
      <dgm:spPr/>
      <dgm:t>
        <a:bodyPr/>
        <a:lstStyle/>
        <a:p>
          <a:endParaRPr lang="en-US"/>
        </a:p>
      </dgm:t>
    </dgm:pt>
    <dgm:pt modelId="{8CD17FFB-81C2-4FEE-9D2E-19AC41A47520}">
      <dgm:prSet phldrT="[Text]"/>
      <dgm:spPr/>
      <dgm:t>
        <a:bodyPr/>
        <a:lstStyle/>
        <a:p>
          <a:r>
            <a:rPr lang="en-US" dirty="0" smtClean="0"/>
            <a:t>Some use special hardware</a:t>
          </a:r>
          <a:endParaRPr lang="en-US" dirty="0"/>
        </a:p>
      </dgm:t>
    </dgm:pt>
    <dgm:pt modelId="{1430EC36-BEE2-4DFE-8D10-3A282A706FE6}" type="parTrans" cxnId="{89B0B4D2-73EC-416C-8E11-BACA48BCB610}">
      <dgm:prSet/>
      <dgm:spPr/>
      <dgm:t>
        <a:bodyPr/>
        <a:lstStyle/>
        <a:p>
          <a:endParaRPr lang="en-US"/>
        </a:p>
      </dgm:t>
    </dgm:pt>
    <dgm:pt modelId="{71477B88-4A36-4AF4-B52E-A9585B118FBE}" type="sibTrans" cxnId="{89B0B4D2-73EC-416C-8E11-BACA48BCB610}">
      <dgm:prSet/>
      <dgm:spPr/>
      <dgm:t>
        <a:bodyPr/>
        <a:lstStyle/>
        <a:p>
          <a:endParaRPr lang="en-US"/>
        </a:p>
      </dgm:t>
    </dgm:pt>
    <dgm:pt modelId="{176DBA9C-0633-46D2-AF55-9F95DC37742E}">
      <dgm:prSet phldrT="[Text]"/>
      <dgm:spPr/>
      <dgm:t>
        <a:bodyPr/>
        <a:lstStyle/>
        <a:p>
          <a:r>
            <a:rPr lang="en-US" dirty="0" smtClean="0"/>
            <a:t>Relational &amp; Columnar</a:t>
          </a:r>
          <a:endParaRPr lang="en-US" dirty="0"/>
        </a:p>
      </dgm:t>
    </dgm:pt>
    <dgm:pt modelId="{E4263DAC-BC6E-4E83-A786-3FE2371D3D75}" type="parTrans" cxnId="{EB70D5C9-6293-42C4-BC2A-4B5AD04F957E}">
      <dgm:prSet/>
      <dgm:spPr/>
      <dgm:t>
        <a:bodyPr/>
        <a:lstStyle/>
        <a:p>
          <a:endParaRPr lang="en-US"/>
        </a:p>
      </dgm:t>
    </dgm:pt>
    <dgm:pt modelId="{1AB88249-45D7-4BDA-9165-7A60DF5634B1}" type="sibTrans" cxnId="{EB70D5C9-6293-42C4-BC2A-4B5AD04F957E}">
      <dgm:prSet/>
      <dgm:spPr/>
      <dgm:t>
        <a:bodyPr/>
        <a:lstStyle/>
        <a:p>
          <a:endParaRPr lang="en-US"/>
        </a:p>
      </dgm:t>
    </dgm:pt>
    <dgm:pt modelId="{BADBE02D-C3FE-4FF7-B363-85F1F9E0E8A3}" type="pres">
      <dgm:prSet presAssocID="{D09B8357-42B5-41FB-B096-88F2A18192B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936BE8F9-6505-4CB7-8D51-6334C17FC81B}" type="pres">
      <dgm:prSet presAssocID="{D09B8357-42B5-41FB-B096-88F2A18192BC}" presName="Name1" presStyleCnt="0"/>
      <dgm:spPr/>
    </dgm:pt>
    <dgm:pt modelId="{2FCF9AA8-0B9B-48CA-956F-42D95422A9B7}" type="pres">
      <dgm:prSet presAssocID="{D09B8357-42B5-41FB-B096-88F2A18192BC}" presName="cycle" presStyleCnt="0"/>
      <dgm:spPr/>
    </dgm:pt>
    <dgm:pt modelId="{C6B5BCF1-6413-4384-BB52-91E3EFA90A31}" type="pres">
      <dgm:prSet presAssocID="{D09B8357-42B5-41FB-B096-88F2A18192BC}" presName="srcNode" presStyleLbl="node1" presStyleIdx="0" presStyleCnt="3"/>
      <dgm:spPr/>
    </dgm:pt>
    <dgm:pt modelId="{00086714-362E-4A65-B014-04928D711FFC}" type="pres">
      <dgm:prSet presAssocID="{D09B8357-42B5-41FB-B096-88F2A18192BC}" presName="conn" presStyleLbl="parChTrans1D2" presStyleIdx="0" presStyleCnt="1"/>
      <dgm:spPr/>
      <dgm:t>
        <a:bodyPr/>
        <a:lstStyle/>
        <a:p>
          <a:endParaRPr lang="en-US"/>
        </a:p>
      </dgm:t>
    </dgm:pt>
    <dgm:pt modelId="{E08BE503-E94C-4DF8-9E79-95EF6ABFB2E3}" type="pres">
      <dgm:prSet presAssocID="{D09B8357-42B5-41FB-B096-88F2A18192BC}" presName="extraNode" presStyleLbl="node1" presStyleIdx="0" presStyleCnt="3"/>
      <dgm:spPr/>
    </dgm:pt>
    <dgm:pt modelId="{587FCB25-4FD8-4154-AC4F-41EF5E7A9140}" type="pres">
      <dgm:prSet presAssocID="{D09B8357-42B5-41FB-B096-88F2A18192BC}" presName="dstNode" presStyleLbl="node1" presStyleIdx="0" presStyleCnt="3"/>
      <dgm:spPr/>
    </dgm:pt>
    <dgm:pt modelId="{EBDB9650-7A02-4C0D-A3E7-5F8CB7D32D41}" type="pres">
      <dgm:prSet presAssocID="{176DBA9C-0633-46D2-AF55-9F95DC37742E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3089F0-5AA8-4566-900A-A85973B1A4DB}" type="pres">
      <dgm:prSet presAssocID="{176DBA9C-0633-46D2-AF55-9F95DC37742E}" presName="accent_1" presStyleCnt="0"/>
      <dgm:spPr/>
    </dgm:pt>
    <dgm:pt modelId="{8F864F20-590A-4D1B-8954-A2FBB2F7C347}" type="pres">
      <dgm:prSet presAssocID="{176DBA9C-0633-46D2-AF55-9F95DC37742E}" presName="accentRepeatNode" presStyleLbl="solidFgAcc1" presStyleIdx="0" presStyleCnt="3"/>
      <dgm:spPr/>
    </dgm:pt>
    <dgm:pt modelId="{7AAF5A0C-4A97-41EC-9FEA-06E11495A341}" type="pres">
      <dgm:prSet presAssocID="{04C991A8-59F1-4270-8A9C-388FF6BB5DA6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A1766B-9CA3-4DD8-A3CC-B2CF3E78146B}" type="pres">
      <dgm:prSet presAssocID="{04C991A8-59F1-4270-8A9C-388FF6BB5DA6}" presName="accent_2" presStyleCnt="0"/>
      <dgm:spPr/>
    </dgm:pt>
    <dgm:pt modelId="{2A3CBB1E-CBBD-4F00-A7A1-0B16D4F64973}" type="pres">
      <dgm:prSet presAssocID="{04C991A8-59F1-4270-8A9C-388FF6BB5DA6}" presName="accentRepeatNode" presStyleLbl="solidFgAcc1" presStyleIdx="1" presStyleCnt="3"/>
      <dgm:spPr/>
    </dgm:pt>
    <dgm:pt modelId="{7CBA4D2E-46F0-45B0-8751-81CE6A42C7F5}" type="pres">
      <dgm:prSet presAssocID="{8CD17FFB-81C2-4FEE-9D2E-19AC41A47520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B3B082-6424-4612-BED7-5A5870A1B070}" type="pres">
      <dgm:prSet presAssocID="{8CD17FFB-81C2-4FEE-9D2E-19AC41A47520}" presName="accent_3" presStyleCnt="0"/>
      <dgm:spPr/>
    </dgm:pt>
    <dgm:pt modelId="{AB11CA96-13F1-4D40-91FD-D6AE34429D0B}" type="pres">
      <dgm:prSet presAssocID="{8CD17FFB-81C2-4FEE-9D2E-19AC41A47520}" presName="accentRepeatNode" presStyleLbl="solidFgAcc1" presStyleIdx="2" presStyleCnt="3"/>
      <dgm:spPr/>
    </dgm:pt>
  </dgm:ptLst>
  <dgm:cxnLst>
    <dgm:cxn modelId="{F2141A3F-19D9-4EFF-9B0A-62CCA3F50FF9}" srcId="{D09B8357-42B5-41FB-B096-88F2A18192BC}" destId="{04C991A8-59F1-4270-8A9C-388FF6BB5DA6}" srcOrd="1" destOrd="0" parTransId="{C6AB4DA2-2795-478D-80C1-A82CAC6EA278}" sibTransId="{A94B002C-24F5-4B10-9DFF-C7705C80E21E}"/>
    <dgm:cxn modelId="{AE8562A1-DA78-49FC-A210-87036FDF9B67}" type="presOf" srcId="{1AB88249-45D7-4BDA-9165-7A60DF5634B1}" destId="{00086714-362E-4A65-B014-04928D711FFC}" srcOrd="0" destOrd="0" presId="urn:microsoft.com/office/officeart/2008/layout/VerticalCurvedList"/>
    <dgm:cxn modelId="{283E7E51-A93B-4D9E-9F36-BEB40B58D0B7}" type="presOf" srcId="{04C991A8-59F1-4270-8A9C-388FF6BB5DA6}" destId="{7AAF5A0C-4A97-41EC-9FEA-06E11495A341}" srcOrd="0" destOrd="0" presId="urn:microsoft.com/office/officeart/2008/layout/VerticalCurvedList"/>
    <dgm:cxn modelId="{B03312DF-7FEB-429A-BCA4-51B0A5009FEB}" type="presOf" srcId="{D09B8357-42B5-41FB-B096-88F2A18192BC}" destId="{BADBE02D-C3FE-4FF7-B363-85F1F9E0E8A3}" srcOrd="0" destOrd="0" presId="urn:microsoft.com/office/officeart/2008/layout/VerticalCurvedList"/>
    <dgm:cxn modelId="{89B0B4D2-73EC-416C-8E11-BACA48BCB610}" srcId="{D09B8357-42B5-41FB-B096-88F2A18192BC}" destId="{8CD17FFB-81C2-4FEE-9D2E-19AC41A47520}" srcOrd="2" destOrd="0" parTransId="{1430EC36-BEE2-4DFE-8D10-3A282A706FE6}" sibTransId="{71477B88-4A36-4AF4-B52E-A9585B118FBE}"/>
    <dgm:cxn modelId="{EB70D5C9-6293-42C4-BC2A-4B5AD04F957E}" srcId="{D09B8357-42B5-41FB-B096-88F2A18192BC}" destId="{176DBA9C-0633-46D2-AF55-9F95DC37742E}" srcOrd="0" destOrd="0" parTransId="{E4263DAC-BC6E-4E83-A786-3FE2371D3D75}" sibTransId="{1AB88249-45D7-4BDA-9165-7A60DF5634B1}"/>
    <dgm:cxn modelId="{40AB0AD7-FEDC-45BA-8935-43B5E6DF1996}" type="presOf" srcId="{176DBA9C-0633-46D2-AF55-9F95DC37742E}" destId="{EBDB9650-7A02-4C0D-A3E7-5F8CB7D32D41}" srcOrd="0" destOrd="0" presId="urn:microsoft.com/office/officeart/2008/layout/VerticalCurvedList"/>
    <dgm:cxn modelId="{07D932E0-5719-42DF-8344-AEFB9881B4D3}" type="presOf" srcId="{8CD17FFB-81C2-4FEE-9D2E-19AC41A47520}" destId="{7CBA4D2E-46F0-45B0-8751-81CE6A42C7F5}" srcOrd="0" destOrd="0" presId="urn:microsoft.com/office/officeart/2008/layout/VerticalCurvedList"/>
    <dgm:cxn modelId="{DE6438F0-C012-4859-9DB0-0B12040D3629}" type="presParOf" srcId="{BADBE02D-C3FE-4FF7-B363-85F1F9E0E8A3}" destId="{936BE8F9-6505-4CB7-8D51-6334C17FC81B}" srcOrd="0" destOrd="0" presId="urn:microsoft.com/office/officeart/2008/layout/VerticalCurvedList"/>
    <dgm:cxn modelId="{22E2CED8-926B-47D9-840F-C1A6DB49796C}" type="presParOf" srcId="{936BE8F9-6505-4CB7-8D51-6334C17FC81B}" destId="{2FCF9AA8-0B9B-48CA-956F-42D95422A9B7}" srcOrd="0" destOrd="0" presId="urn:microsoft.com/office/officeart/2008/layout/VerticalCurvedList"/>
    <dgm:cxn modelId="{EC4BBD92-A291-454A-95B4-6FFC855A033F}" type="presParOf" srcId="{2FCF9AA8-0B9B-48CA-956F-42D95422A9B7}" destId="{C6B5BCF1-6413-4384-BB52-91E3EFA90A31}" srcOrd="0" destOrd="0" presId="urn:microsoft.com/office/officeart/2008/layout/VerticalCurvedList"/>
    <dgm:cxn modelId="{0E29F786-A0B4-4DB1-BA08-F18F572D12E7}" type="presParOf" srcId="{2FCF9AA8-0B9B-48CA-956F-42D95422A9B7}" destId="{00086714-362E-4A65-B014-04928D711FFC}" srcOrd="1" destOrd="0" presId="urn:microsoft.com/office/officeart/2008/layout/VerticalCurvedList"/>
    <dgm:cxn modelId="{9B7EAD3E-7944-4D01-8A12-639A18492D7E}" type="presParOf" srcId="{2FCF9AA8-0B9B-48CA-956F-42D95422A9B7}" destId="{E08BE503-E94C-4DF8-9E79-95EF6ABFB2E3}" srcOrd="2" destOrd="0" presId="urn:microsoft.com/office/officeart/2008/layout/VerticalCurvedList"/>
    <dgm:cxn modelId="{A0605CF9-3D75-4CFE-B35C-66A1533623E8}" type="presParOf" srcId="{2FCF9AA8-0B9B-48CA-956F-42D95422A9B7}" destId="{587FCB25-4FD8-4154-AC4F-41EF5E7A9140}" srcOrd="3" destOrd="0" presId="urn:microsoft.com/office/officeart/2008/layout/VerticalCurvedList"/>
    <dgm:cxn modelId="{8EFC9B6D-ABCB-4399-8090-38FDCFFC8402}" type="presParOf" srcId="{936BE8F9-6505-4CB7-8D51-6334C17FC81B}" destId="{EBDB9650-7A02-4C0D-A3E7-5F8CB7D32D41}" srcOrd="1" destOrd="0" presId="urn:microsoft.com/office/officeart/2008/layout/VerticalCurvedList"/>
    <dgm:cxn modelId="{76BC6023-C6BE-49E1-B128-5D268FE223A5}" type="presParOf" srcId="{936BE8F9-6505-4CB7-8D51-6334C17FC81B}" destId="{513089F0-5AA8-4566-900A-A85973B1A4DB}" srcOrd="2" destOrd="0" presId="urn:microsoft.com/office/officeart/2008/layout/VerticalCurvedList"/>
    <dgm:cxn modelId="{82CA8F9E-BCC0-45E0-9B83-2794C4B67F1F}" type="presParOf" srcId="{513089F0-5AA8-4566-900A-A85973B1A4DB}" destId="{8F864F20-590A-4D1B-8954-A2FBB2F7C347}" srcOrd="0" destOrd="0" presId="urn:microsoft.com/office/officeart/2008/layout/VerticalCurvedList"/>
    <dgm:cxn modelId="{1B5D4C73-B269-481F-81D2-F37B585D2EA8}" type="presParOf" srcId="{936BE8F9-6505-4CB7-8D51-6334C17FC81B}" destId="{7AAF5A0C-4A97-41EC-9FEA-06E11495A341}" srcOrd="3" destOrd="0" presId="urn:microsoft.com/office/officeart/2008/layout/VerticalCurvedList"/>
    <dgm:cxn modelId="{5DA7AAC2-8DA6-42A2-BA3A-2ECD337E55B3}" type="presParOf" srcId="{936BE8F9-6505-4CB7-8D51-6334C17FC81B}" destId="{82A1766B-9CA3-4DD8-A3CC-B2CF3E78146B}" srcOrd="4" destOrd="0" presId="urn:microsoft.com/office/officeart/2008/layout/VerticalCurvedList"/>
    <dgm:cxn modelId="{7B2F92E3-EDB0-478A-B250-80D7AFE7F7F6}" type="presParOf" srcId="{82A1766B-9CA3-4DD8-A3CC-B2CF3E78146B}" destId="{2A3CBB1E-CBBD-4F00-A7A1-0B16D4F64973}" srcOrd="0" destOrd="0" presId="urn:microsoft.com/office/officeart/2008/layout/VerticalCurvedList"/>
    <dgm:cxn modelId="{150CDA8C-15E7-48C9-B4E5-1CC62CA32236}" type="presParOf" srcId="{936BE8F9-6505-4CB7-8D51-6334C17FC81B}" destId="{7CBA4D2E-46F0-45B0-8751-81CE6A42C7F5}" srcOrd="5" destOrd="0" presId="urn:microsoft.com/office/officeart/2008/layout/VerticalCurvedList"/>
    <dgm:cxn modelId="{60D6EAE6-3CBA-4023-95A5-5E7C2EE080C7}" type="presParOf" srcId="{936BE8F9-6505-4CB7-8D51-6334C17FC81B}" destId="{A9B3B082-6424-4612-BED7-5A5870A1B070}" srcOrd="6" destOrd="0" presId="urn:microsoft.com/office/officeart/2008/layout/VerticalCurvedList"/>
    <dgm:cxn modelId="{8D0782B5-B8D9-43C9-9832-ED865DC37608}" type="presParOf" srcId="{A9B3B082-6424-4612-BED7-5A5870A1B070}" destId="{AB11CA96-13F1-4D40-91FD-D6AE34429D0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0973E58-6247-4517-9DDB-CB5A7F549CA1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BD0C457-3038-4C1F-B51F-6620DBE72FAC}">
      <dgm:prSet phldrT="[Text]"/>
      <dgm:spPr>
        <a:solidFill>
          <a:srgbClr val="ED1933"/>
        </a:solidFill>
      </dgm:spPr>
      <dgm:t>
        <a:bodyPr/>
        <a:lstStyle/>
        <a:p>
          <a:r>
            <a:rPr lang="en-US" dirty="0" smtClean="0"/>
            <a:t>DWH</a:t>
          </a:r>
          <a:endParaRPr lang="en-US" dirty="0"/>
        </a:p>
      </dgm:t>
    </dgm:pt>
    <dgm:pt modelId="{14075D59-9799-4911-8B6F-4C91FE78BD97}" type="parTrans" cxnId="{86E8FC02-AEA1-4E0E-85BC-A1EC91880D0E}">
      <dgm:prSet/>
      <dgm:spPr/>
      <dgm:t>
        <a:bodyPr/>
        <a:lstStyle/>
        <a:p>
          <a:endParaRPr lang="en-US"/>
        </a:p>
      </dgm:t>
    </dgm:pt>
    <dgm:pt modelId="{68FDD76E-5CD7-46DC-A6B6-1B936D1587E4}" type="sibTrans" cxnId="{86E8FC02-AEA1-4E0E-85BC-A1EC91880D0E}">
      <dgm:prSet/>
      <dgm:spPr/>
      <dgm:t>
        <a:bodyPr/>
        <a:lstStyle/>
        <a:p>
          <a:endParaRPr lang="en-US"/>
        </a:p>
      </dgm:t>
    </dgm:pt>
    <dgm:pt modelId="{1FDD8BDF-A1DB-4BF8-A096-134A53210648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/>
            <a:t>Consolidation</a:t>
          </a:r>
        </a:p>
        <a:p>
          <a:r>
            <a:rPr lang="en-US" dirty="0" smtClean="0"/>
            <a:t>Of Sources</a:t>
          </a:r>
          <a:endParaRPr lang="en-US" dirty="0"/>
        </a:p>
      </dgm:t>
    </dgm:pt>
    <dgm:pt modelId="{6B25550D-107B-44A8-93AD-6B1558771D0A}" type="parTrans" cxnId="{F27F585D-30E0-4071-88E4-303882E06709}">
      <dgm:prSet/>
      <dgm:spPr/>
      <dgm:t>
        <a:bodyPr/>
        <a:lstStyle/>
        <a:p>
          <a:endParaRPr lang="en-US"/>
        </a:p>
      </dgm:t>
    </dgm:pt>
    <dgm:pt modelId="{EB996CB5-3F13-4598-898F-B54105F9EE21}" type="sibTrans" cxnId="{F27F585D-30E0-4071-88E4-303882E06709}">
      <dgm:prSet/>
      <dgm:spPr/>
      <dgm:t>
        <a:bodyPr/>
        <a:lstStyle/>
        <a:p>
          <a:endParaRPr lang="en-US"/>
        </a:p>
      </dgm:t>
    </dgm:pt>
    <dgm:pt modelId="{228B59B2-0AD4-4AAD-A23A-A849768BC2B5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/>
            <a:t>Improve</a:t>
          </a:r>
        </a:p>
        <a:p>
          <a:r>
            <a:rPr lang="en-US" dirty="0" smtClean="0"/>
            <a:t>Query Performance</a:t>
          </a:r>
          <a:endParaRPr lang="en-US" dirty="0"/>
        </a:p>
      </dgm:t>
    </dgm:pt>
    <dgm:pt modelId="{B442261B-C8D0-4595-B564-8B78EC293524}" type="parTrans" cxnId="{17B347F1-D9D0-4B2B-BD49-5C9B9DB0A482}">
      <dgm:prSet/>
      <dgm:spPr/>
      <dgm:t>
        <a:bodyPr/>
        <a:lstStyle/>
        <a:p>
          <a:endParaRPr lang="en-US"/>
        </a:p>
      </dgm:t>
    </dgm:pt>
    <dgm:pt modelId="{5ED7BF1C-16D5-4903-BB84-843B88F09516}" type="sibTrans" cxnId="{17B347F1-D9D0-4B2B-BD49-5C9B9DB0A482}">
      <dgm:prSet/>
      <dgm:spPr/>
      <dgm:t>
        <a:bodyPr/>
        <a:lstStyle/>
        <a:p>
          <a:endParaRPr lang="en-US"/>
        </a:p>
      </dgm:t>
    </dgm:pt>
    <dgm:pt modelId="{8D8EC65A-6078-4F3F-9817-BFFD9FAE6B13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/>
            <a:t>Separate Research and Decision Support it is different!</a:t>
          </a:r>
          <a:endParaRPr lang="en-US" dirty="0"/>
        </a:p>
      </dgm:t>
    </dgm:pt>
    <dgm:pt modelId="{18294131-E90D-4B13-B8D1-2AA5107F988C}" type="parTrans" cxnId="{2F8A2001-FFAA-48CF-8189-33585361CA06}">
      <dgm:prSet/>
      <dgm:spPr/>
      <dgm:t>
        <a:bodyPr/>
        <a:lstStyle/>
        <a:p>
          <a:endParaRPr lang="en-US"/>
        </a:p>
      </dgm:t>
    </dgm:pt>
    <dgm:pt modelId="{7B18AC3B-C222-4303-B4A1-0D529EEB89AC}" type="sibTrans" cxnId="{2F8A2001-FFAA-48CF-8189-33585361CA06}">
      <dgm:prSet/>
      <dgm:spPr/>
      <dgm:t>
        <a:bodyPr/>
        <a:lstStyle/>
        <a:p>
          <a:endParaRPr lang="en-US"/>
        </a:p>
      </dgm:t>
    </dgm:pt>
    <dgm:pt modelId="{D817C371-2FC7-4442-A0A5-AC276087454F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/>
            <a:t>Build the foundation for Advanced Analytics</a:t>
          </a:r>
          <a:endParaRPr lang="en-US" dirty="0"/>
        </a:p>
      </dgm:t>
    </dgm:pt>
    <dgm:pt modelId="{8B10732B-6A32-4764-AEAA-02AB3559484B}" type="parTrans" cxnId="{6261CB30-016F-42C8-A946-8C00F4E419A4}">
      <dgm:prSet/>
      <dgm:spPr/>
      <dgm:t>
        <a:bodyPr/>
        <a:lstStyle/>
        <a:p>
          <a:endParaRPr lang="en-US"/>
        </a:p>
      </dgm:t>
    </dgm:pt>
    <dgm:pt modelId="{8C75B2C4-C2CC-453D-B24D-A5CB39849CAA}" type="sibTrans" cxnId="{6261CB30-016F-42C8-A946-8C00F4E419A4}">
      <dgm:prSet/>
      <dgm:spPr/>
      <dgm:t>
        <a:bodyPr/>
        <a:lstStyle/>
        <a:p>
          <a:endParaRPr lang="en-US"/>
        </a:p>
      </dgm:t>
    </dgm:pt>
    <dgm:pt modelId="{D0894367-6AE6-4B64-91BD-CDD97CC57F1B}" type="pres">
      <dgm:prSet presAssocID="{80973E58-6247-4517-9DDB-CB5A7F549CA1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C95B496-32B1-4D82-A1AF-8B0A9EAAA2D6}" type="pres">
      <dgm:prSet presAssocID="{80973E58-6247-4517-9DDB-CB5A7F549CA1}" presName="matrix" presStyleCnt="0"/>
      <dgm:spPr/>
    </dgm:pt>
    <dgm:pt modelId="{1BA57B78-9325-40E6-960F-07A0FAB3E40F}" type="pres">
      <dgm:prSet presAssocID="{80973E58-6247-4517-9DDB-CB5A7F549CA1}" presName="tile1" presStyleLbl="node1" presStyleIdx="0" presStyleCnt="4"/>
      <dgm:spPr/>
      <dgm:t>
        <a:bodyPr/>
        <a:lstStyle/>
        <a:p>
          <a:endParaRPr lang="en-US"/>
        </a:p>
      </dgm:t>
    </dgm:pt>
    <dgm:pt modelId="{9DD36095-D049-487E-92DC-1FF4B7BD6B7D}" type="pres">
      <dgm:prSet presAssocID="{80973E58-6247-4517-9DDB-CB5A7F549CA1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3F9268-DAB4-4A73-BE6C-92B306445ED8}" type="pres">
      <dgm:prSet presAssocID="{80973E58-6247-4517-9DDB-CB5A7F549CA1}" presName="tile2" presStyleLbl="node1" presStyleIdx="1" presStyleCnt="4"/>
      <dgm:spPr/>
      <dgm:t>
        <a:bodyPr/>
        <a:lstStyle/>
        <a:p>
          <a:endParaRPr lang="en-US"/>
        </a:p>
      </dgm:t>
    </dgm:pt>
    <dgm:pt modelId="{4EBB9EE3-74E1-4F53-8FAC-873CD780C754}" type="pres">
      <dgm:prSet presAssocID="{80973E58-6247-4517-9DDB-CB5A7F549CA1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425072-5A5C-4E0B-A485-957321B3DD6F}" type="pres">
      <dgm:prSet presAssocID="{80973E58-6247-4517-9DDB-CB5A7F549CA1}" presName="tile3" presStyleLbl="node1" presStyleIdx="2" presStyleCnt="4"/>
      <dgm:spPr/>
      <dgm:t>
        <a:bodyPr/>
        <a:lstStyle/>
        <a:p>
          <a:endParaRPr lang="en-US"/>
        </a:p>
      </dgm:t>
    </dgm:pt>
    <dgm:pt modelId="{74C46D67-2DAF-42EE-89ED-61E7F774A761}" type="pres">
      <dgm:prSet presAssocID="{80973E58-6247-4517-9DDB-CB5A7F549CA1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87A2F5-7170-4DF7-A053-03D3F6C70A58}" type="pres">
      <dgm:prSet presAssocID="{80973E58-6247-4517-9DDB-CB5A7F549CA1}" presName="tile4" presStyleLbl="node1" presStyleIdx="3" presStyleCnt="4"/>
      <dgm:spPr/>
      <dgm:t>
        <a:bodyPr/>
        <a:lstStyle/>
        <a:p>
          <a:endParaRPr lang="en-US"/>
        </a:p>
      </dgm:t>
    </dgm:pt>
    <dgm:pt modelId="{D41DD4D6-89FF-4762-8530-9C3E7E12C794}" type="pres">
      <dgm:prSet presAssocID="{80973E58-6247-4517-9DDB-CB5A7F549CA1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613007-6014-4C83-99B1-5D43727D2154}" type="pres">
      <dgm:prSet presAssocID="{80973E58-6247-4517-9DDB-CB5A7F549CA1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90786610-84F8-4D4F-BFE6-0810EE9FE254}" type="presOf" srcId="{8D8EC65A-6078-4F3F-9817-BFFD9FAE6B13}" destId="{74C46D67-2DAF-42EE-89ED-61E7F774A761}" srcOrd="1" destOrd="0" presId="urn:microsoft.com/office/officeart/2005/8/layout/matrix1"/>
    <dgm:cxn modelId="{46279693-CDB0-4806-9E10-68BA63122492}" type="presOf" srcId="{1FDD8BDF-A1DB-4BF8-A096-134A53210648}" destId="{9DD36095-D049-487E-92DC-1FF4B7BD6B7D}" srcOrd="1" destOrd="0" presId="urn:microsoft.com/office/officeart/2005/8/layout/matrix1"/>
    <dgm:cxn modelId="{7BEB1334-B252-419D-9E4C-0F30060AB650}" type="presOf" srcId="{228B59B2-0AD4-4AAD-A23A-A849768BC2B5}" destId="{4EBB9EE3-74E1-4F53-8FAC-873CD780C754}" srcOrd="1" destOrd="0" presId="urn:microsoft.com/office/officeart/2005/8/layout/matrix1"/>
    <dgm:cxn modelId="{6261CB30-016F-42C8-A946-8C00F4E419A4}" srcId="{4BD0C457-3038-4C1F-B51F-6620DBE72FAC}" destId="{D817C371-2FC7-4442-A0A5-AC276087454F}" srcOrd="3" destOrd="0" parTransId="{8B10732B-6A32-4764-AEAA-02AB3559484B}" sibTransId="{8C75B2C4-C2CC-453D-B24D-A5CB39849CAA}"/>
    <dgm:cxn modelId="{3670DA0C-99A3-4FDC-A0B2-8B9598D1A629}" type="presOf" srcId="{D817C371-2FC7-4442-A0A5-AC276087454F}" destId="{D41DD4D6-89FF-4762-8530-9C3E7E12C794}" srcOrd="1" destOrd="0" presId="urn:microsoft.com/office/officeart/2005/8/layout/matrix1"/>
    <dgm:cxn modelId="{E9D56C2F-F5C1-46A5-AC8F-BC9B578CBA5D}" type="presOf" srcId="{80973E58-6247-4517-9DDB-CB5A7F549CA1}" destId="{D0894367-6AE6-4B64-91BD-CDD97CC57F1B}" srcOrd="0" destOrd="0" presId="urn:microsoft.com/office/officeart/2005/8/layout/matrix1"/>
    <dgm:cxn modelId="{F3138CEC-3634-491D-A15B-A38BF2D5464E}" type="presOf" srcId="{D817C371-2FC7-4442-A0A5-AC276087454F}" destId="{DF87A2F5-7170-4DF7-A053-03D3F6C70A58}" srcOrd="0" destOrd="0" presId="urn:microsoft.com/office/officeart/2005/8/layout/matrix1"/>
    <dgm:cxn modelId="{93D00ADB-5D54-4DE4-AA7E-EB8D68D15E20}" type="presOf" srcId="{1FDD8BDF-A1DB-4BF8-A096-134A53210648}" destId="{1BA57B78-9325-40E6-960F-07A0FAB3E40F}" srcOrd="0" destOrd="0" presId="urn:microsoft.com/office/officeart/2005/8/layout/matrix1"/>
    <dgm:cxn modelId="{2F8A2001-FFAA-48CF-8189-33585361CA06}" srcId="{4BD0C457-3038-4C1F-B51F-6620DBE72FAC}" destId="{8D8EC65A-6078-4F3F-9817-BFFD9FAE6B13}" srcOrd="2" destOrd="0" parTransId="{18294131-E90D-4B13-B8D1-2AA5107F988C}" sibTransId="{7B18AC3B-C222-4303-B4A1-0D529EEB89AC}"/>
    <dgm:cxn modelId="{17B347F1-D9D0-4B2B-BD49-5C9B9DB0A482}" srcId="{4BD0C457-3038-4C1F-B51F-6620DBE72FAC}" destId="{228B59B2-0AD4-4AAD-A23A-A849768BC2B5}" srcOrd="1" destOrd="0" parTransId="{B442261B-C8D0-4595-B564-8B78EC293524}" sibTransId="{5ED7BF1C-16D5-4903-BB84-843B88F09516}"/>
    <dgm:cxn modelId="{D5244CC2-9AF3-4F0F-B6B0-1372B9025B3B}" type="presOf" srcId="{8D8EC65A-6078-4F3F-9817-BFFD9FAE6B13}" destId="{24425072-5A5C-4E0B-A485-957321B3DD6F}" srcOrd="0" destOrd="0" presId="urn:microsoft.com/office/officeart/2005/8/layout/matrix1"/>
    <dgm:cxn modelId="{F27F585D-30E0-4071-88E4-303882E06709}" srcId="{4BD0C457-3038-4C1F-B51F-6620DBE72FAC}" destId="{1FDD8BDF-A1DB-4BF8-A096-134A53210648}" srcOrd="0" destOrd="0" parTransId="{6B25550D-107B-44A8-93AD-6B1558771D0A}" sibTransId="{EB996CB5-3F13-4598-898F-B54105F9EE21}"/>
    <dgm:cxn modelId="{C7BF7CD2-4EC1-4222-9110-CEE93196E0F1}" type="presOf" srcId="{4BD0C457-3038-4C1F-B51F-6620DBE72FAC}" destId="{09613007-6014-4C83-99B1-5D43727D2154}" srcOrd="0" destOrd="0" presId="urn:microsoft.com/office/officeart/2005/8/layout/matrix1"/>
    <dgm:cxn modelId="{4530150D-AC81-49FF-B982-F1AD5A4A3402}" type="presOf" srcId="{228B59B2-0AD4-4AAD-A23A-A849768BC2B5}" destId="{263F9268-DAB4-4A73-BE6C-92B306445ED8}" srcOrd="0" destOrd="0" presId="urn:microsoft.com/office/officeart/2005/8/layout/matrix1"/>
    <dgm:cxn modelId="{86E8FC02-AEA1-4E0E-85BC-A1EC91880D0E}" srcId="{80973E58-6247-4517-9DDB-CB5A7F549CA1}" destId="{4BD0C457-3038-4C1F-B51F-6620DBE72FAC}" srcOrd="0" destOrd="0" parTransId="{14075D59-9799-4911-8B6F-4C91FE78BD97}" sibTransId="{68FDD76E-5CD7-46DC-A6B6-1B936D1587E4}"/>
    <dgm:cxn modelId="{810C151F-AE26-4301-B1AE-C0062AB84E73}" type="presParOf" srcId="{D0894367-6AE6-4B64-91BD-CDD97CC57F1B}" destId="{3C95B496-32B1-4D82-A1AF-8B0A9EAAA2D6}" srcOrd="0" destOrd="0" presId="urn:microsoft.com/office/officeart/2005/8/layout/matrix1"/>
    <dgm:cxn modelId="{EBF92B9A-8429-4387-A961-BD008BA5E1D4}" type="presParOf" srcId="{3C95B496-32B1-4D82-A1AF-8B0A9EAAA2D6}" destId="{1BA57B78-9325-40E6-960F-07A0FAB3E40F}" srcOrd="0" destOrd="0" presId="urn:microsoft.com/office/officeart/2005/8/layout/matrix1"/>
    <dgm:cxn modelId="{C5130457-B7A6-4AE2-8B42-5EFCB9404EA9}" type="presParOf" srcId="{3C95B496-32B1-4D82-A1AF-8B0A9EAAA2D6}" destId="{9DD36095-D049-487E-92DC-1FF4B7BD6B7D}" srcOrd="1" destOrd="0" presId="urn:microsoft.com/office/officeart/2005/8/layout/matrix1"/>
    <dgm:cxn modelId="{0DA09801-9D9A-4733-9088-6CB6FE017C62}" type="presParOf" srcId="{3C95B496-32B1-4D82-A1AF-8B0A9EAAA2D6}" destId="{263F9268-DAB4-4A73-BE6C-92B306445ED8}" srcOrd="2" destOrd="0" presId="urn:microsoft.com/office/officeart/2005/8/layout/matrix1"/>
    <dgm:cxn modelId="{C933403B-6598-4019-9F91-01744B6A2E1E}" type="presParOf" srcId="{3C95B496-32B1-4D82-A1AF-8B0A9EAAA2D6}" destId="{4EBB9EE3-74E1-4F53-8FAC-873CD780C754}" srcOrd="3" destOrd="0" presId="urn:microsoft.com/office/officeart/2005/8/layout/matrix1"/>
    <dgm:cxn modelId="{4FFFA97C-272E-4384-85F2-B11D6BF0D90C}" type="presParOf" srcId="{3C95B496-32B1-4D82-A1AF-8B0A9EAAA2D6}" destId="{24425072-5A5C-4E0B-A485-957321B3DD6F}" srcOrd="4" destOrd="0" presId="urn:microsoft.com/office/officeart/2005/8/layout/matrix1"/>
    <dgm:cxn modelId="{99895E73-1585-4DFF-8B36-678C6397885C}" type="presParOf" srcId="{3C95B496-32B1-4D82-A1AF-8B0A9EAAA2D6}" destId="{74C46D67-2DAF-42EE-89ED-61E7F774A761}" srcOrd="5" destOrd="0" presId="urn:microsoft.com/office/officeart/2005/8/layout/matrix1"/>
    <dgm:cxn modelId="{9AFE32AC-C985-4310-91BA-CFC8BF945A40}" type="presParOf" srcId="{3C95B496-32B1-4D82-A1AF-8B0A9EAAA2D6}" destId="{DF87A2F5-7170-4DF7-A053-03D3F6C70A58}" srcOrd="6" destOrd="0" presId="urn:microsoft.com/office/officeart/2005/8/layout/matrix1"/>
    <dgm:cxn modelId="{54A48C53-A1AD-4F2E-910D-6ADC4475BAFF}" type="presParOf" srcId="{3C95B496-32B1-4D82-A1AF-8B0A9EAAA2D6}" destId="{D41DD4D6-89FF-4762-8530-9C3E7E12C794}" srcOrd="7" destOrd="0" presId="urn:microsoft.com/office/officeart/2005/8/layout/matrix1"/>
    <dgm:cxn modelId="{C6308757-679A-4BCF-B8A2-0A65418DDB5F}" type="presParOf" srcId="{D0894367-6AE6-4B64-91BD-CDD97CC57F1B}" destId="{09613007-6014-4C83-99B1-5D43727D2154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87144B76-B690-4D54-A73C-2CF294459117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33E0A65-4565-45AD-806D-6BD9AD9C77B0}">
      <dgm:prSet phldrT="[Text]"/>
      <dgm:spPr/>
      <dgm:t>
        <a:bodyPr/>
        <a:lstStyle/>
        <a:p>
          <a:r>
            <a:rPr lang="en-US" dirty="0" smtClean="0"/>
            <a:t>SQL</a:t>
          </a:r>
          <a:endParaRPr lang="en-US" dirty="0"/>
        </a:p>
      </dgm:t>
    </dgm:pt>
    <dgm:pt modelId="{AC7F38D4-7FA7-48C9-8CDE-1A7B5D50C18D}" type="parTrans" cxnId="{D3FC70B6-D968-4FBB-9C2B-B914AEF069F5}">
      <dgm:prSet/>
      <dgm:spPr/>
      <dgm:t>
        <a:bodyPr/>
        <a:lstStyle/>
        <a:p>
          <a:endParaRPr lang="en-US"/>
        </a:p>
      </dgm:t>
    </dgm:pt>
    <dgm:pt modelId="{B0FF374A-B60C-41B9-9F1F-6555A46A5FCF}" type="sibTrans" cxnId="{D3FC70B6-D968-4FBB-9C2B-B914AEF069F5}">
      <dgm:prSet/>
      <dgm:spPr/>
      <dgm:t>
        <a:bodyPr/>
        <a:lstStyle/>
        <a:p>
          <a:endParaRPr lang="en-US"/>
        </a:p>
      </dgm:t>
    </dgm:pt>
    <dgm:pt modelId="{0250CA67-808C-453B-A719-E4373748160F}">
      <dgm:prSet phldrT="[Text]"/>
      <dgm:spPr/>
      <dgm:t>
        <a:bodyPr/>
        <a:lstStyle/>
        <a:p>
          <a:r>
            <a:rPr lang="en-US" dirty="0" smtClean="0"/>
            <a:t>Standard SQL Interface</a:t>
          </a:r>
          <a:endParaRPr lang="en-US" dirty="0"/>
        </a:p>
      </dgm:t>
    </dgm:pt>
    <dgm:pt modelId="{74245DA4-1EE0-4B58-9C7F-882190E5111D}" type="parTrans" cxnId="{5BBA965D-F44C-429F-9471-6241AFD5E96B}">
      <dgm:prSet/>
      <dgm:spPr/>
      <dgm:t>
        <a:bodyPr/>
        <a:lstStyle/>
        <a:p>
          <a:endParaRPr lang="en-US"/>
        </a:p>
      </dgm:t>
    </dgm:pt>
    <dgm:pt modelId="{007165A4-7950-44A7-AE42-8FE4D884146E}" type="sibTrans" cxnId="{5BBA965D-F44C-429F-9471-6241AFD5E96B}">
      <dgm:prSet/>
      <dgm:spPr/>
      <dgm:t>
        <a:bodyPr/>
        <a:lstStyle/>
        <a:p>
          <a:endParaRPr lang="en-US"/>
        </a:p>
      </dgm:t>
    </dgm:pt>
    <dgm:pt modelId="{683C5E78-E9D7-4416-B974-27378E08F1B3}">
      <dgm:prSet phldrT="[Text]"/>
      <dgm:spPr/>
      <dgm:t>
        <a:bodyPr/>
        <a:lstStyle/>
        <a:p>
          <a:r>
            <a:rPr lang="en-US" dirty="0" smtClean="0"/>
            <a:t>storage</a:t>
          </a:r>
          <a:endParaRPr lang="en-US" dirty="0"/>
        </a:p>
      </dgm:t>
    </dgm:pt>
    <dgm:pt modelId="{B3D9ED63-D202-44A7-B2FB-786B502EF140}" type="parTrans" cxnId="{5E55BE4D-45C8-4F0D-B8C0-0C78AC07F7E8}">
      <dgm:prSet/>
      <dgm:spPr/>
      <dgm:t>
        <a:bodyPr/>
        <a:lstStyle/>
        <a:p>
          <a:endParaRPr lang="en-US"/>
        </a:p>
      </dgm:t>
    </dgm:pt>
    <dgm:pt modelId="{9DF57B64-A7B0-4FFC-BCD7-E34604BF4DB1}" type="sibTrans" cxnId="{5E55BE4D-45C8-4F0D-B8C0-0C78AC07F7E8}">
      <dgm:prSet/>
      <dgm:spPr/>
      <dgm:t>
        <a:bodyPr/>
        <a:lstStyle/>
        <a:p>
          <a:endParaRPr lang="en-US"/>
        </a:p>
      </dgm:t>
    </dgm:pt>
    <dgm:pt modelId="{5BE28A20-2F01-47C3-B84C-8755436EF0A7}">
      <dgm:prSet phldrT="[Text]"/>
      <dgm:spPr/>
      <dgm:t>
        <a:bodyPr/>
        <a:lstStyle/>
        <a:p>
          <a:r>
            <a:rPr lang="en-US" dirty="0" smtClean="0"/>
            <a:t>Column orientation for fast results</a:t>
          </a:r>
          <a:endParaRPr lang="en-US" dirty="0"/>
        </a:p>
      </dgm:t>
    </dgm:pt>
    <dgm:pt modelId="{DC10DEAF-D18E-48D4-B4E1-D419EC732E40}" type="parTrans" cxnId="{0D64A981-1A84-4943-901D-950E5ED5B15B}">
      <dgm:prSet/>
      <dgm:spPr/>
      <dgm:t>
        <a:bodyPr/>
        <a:lstStyle/>
        <a:p>
          <a:endParaRPr lang="en-US"/>
        </a:p>
      </dgm:t>
    </dgm:pt>
    <dgm:pt modelId="{B88B98E7-DA46-44E5-8D0D-3DBE8F68F2E5}" type="sibTrans" cxnId="{0D64A981-1A84-4943-901D-950E5ED5B15B}">
      <dgm:prSet/>
      <dgm:spPr/>
      <dgm:t>
        <a:bodyPr/>
        <a:lstStyle/>
        <a:p>
          <a:endParaRPr lang="en-US"/>
        </a:p>
      </dgm:t>
    </dgm:pt>
    <dgm:pt modelId="{ACBCCF50-3518-4C57-99F6-39F689D879FF}">
      <dgm:prSet phldrT="[Text]"/>
      <dgm:spPr/>
      <dgm:t>
        <a:bodyPr/>
        <a:lstStyle/>
        <a:p>
          <a:r>
            <a:rPr lang="en-US" dirty="0" smtClean="0"/>
            <a:t>Some times row orientation as well</a:t>
          </a:r>
          <a:endParaRPr lang="en-US" dirty="0"/>
        </a:p>
      </dgm:t>
    </dgm:pt>
    <dgm:pt modelId="{F629E31B-62B1-486F-B00D-37F52CEABF45}" type="parTrans" cxnId="{953E66C7-EF70-4DB7-9F63-89E497751789}">
      <dgm:prSet/>
      <dgm:spPr/>
      <dgm:t>
        <a:bodyPr/>
        <a:lstStyle/>
        <a:p>
          <a:endParaRPr lang="en-US"/>
        </a:p>
      </dgm:t>
    </dgm:pt>
    <dgm:pt modelId="{415193FF-73AD-45E5-879E-967E10D754AC}" type="sibTrans" cxnId="{953E66C7-EF70-4DB7-9F63-89E497751789}">
      <dgm:prSet/>
      <dgm:spPr/>
      <dgm:t>
        <a:bodyPr/>
        <a:lstStyle/>
        <a:p>
          <a:endParaRPr lang="en-US"/>
        </a:p>
      </dgm:t>
    </dgm:pt>
    <dgm:pt modelId="{2F969EE5-6241-44F7-B712-4B793B52EAA4}">
      <dgm:prSet phldrT="[Text]"/>
      <dgm:spPr/>
      <dgm:t>
        <a:bodyPr/>
        <a:lstStyle/>
        <a:p>
          <a:r>
            <a:rPr lang="en-US" dirty="0" smtClean="0"/>
            <a:t>HA</a:t>
          </a:r>
          <a:endParaRPr lang="en-US" dirty="0"/>
        </a:p>
      </dgm:t>
    </dgm:pt>
    <dgm:pt modelId="{2E849AAA-CA4F-41E4-A2C7-3F7BD3B95846}" type="parTrans" cxnId="{25ECE628-06E1-49F7-BE7F-5DE62299A1CD}">
      <dgm:prSet/>
      <dgm:spPr/>
      <dgm:t>
        <a:bodyPr/>
        <a:lstStyle/>
        <a:p>
          <a:endParaRPr lang="en-US"/>
        </a:p>
      </dgm:t>
    </dgm:pt>
    <dgm:pt modelId="{3818BFBE-C05D-4C9C-B8AE-06756EE65005}" type="sibTrans" cxnId="{25ECE628-06E1-49F7-BE7F-5DE62299A1CD}">
      <dgm:prSet/>
      <dgm:spPr/>
      <dgm:t>
        <a:bodyPr/>
        <a:lstStyle/>
        <a:p>
          <a:endParaRPr lang="en-US"/>
        </a:p>
      </dgm:t>
    </dgm:pt>
    <dgm:pt modelId="{65FFDB59-AC8C-40B4-B179-0A2DA144E8F9}">
      <dgm:prSet phldrT="[Text]"/>
      <dgm:spPr/>
      <dgm:t>
        <a:bodyPr/>
        <a:lstStyle/>
        <a:p>
          <a:r>
            <a:rPr lang="en-US" dirty="0" smtClean="0"/>
            <a:t>Built in High availability</a:t>
          </a:r>
          <a:endParaRPr lang="en-US" dirty="0"/>
        </a:p>
      </dgm:t>
    </dgm:pt>
    <dgm:pt modelId="{C72C7C70-F77B-4268-82E3-796BA115F146}" type="parTrans" cxnId="{6DC776CD-6084-4882-94CB-2D2F44F04156}">
      <dgm:prSet/>
      <dgm:spPr/>
      <dgm:t>
        <a:bodyPr/>
        <a:lstStyle/>
        <a:p>
          <a:endParaRPr lang="en-US"/>
        </a:p>
      </dgm:t>
    </dgm:pt>
    <dgm:pt modelId="{B78341D1-47A9-46B9-BE54-D2C8D8775112}" type="sibTrans" cxnId="{6DC776CD-6084-4882-94CB-2D2F44F04156}">
      <dgm:prSet/>
      <dgm:spPr/>
      <dgm:t>
        <a:bodyPr/>
        <a:lstStyle/>
        <a:p>
          <a:endParaRPr lang="en-US"/>
        </a:p>
      </dgm:t>
    </dgm:pt>
    <dgm:pt modelId="{0451F636-247D-4AC6-AD47-5FFB874F898F}">
      <dgm:prSet phldrT="[Text]"/>
      <dgm:spPr/>
      <dgm:t>
        <a:bodyPr/>
        <a:lstStyle/>
        <a:p>
          <a:r>
            <a:rPr lang="en-US" dirty="0" smtClean="0"/>
            <a:t>MPP</a:t>
          </a:r>
          <a:endParaRPr lang="en-US" dirty="0"/>
        </a:p>
      </dgm:t>
    </dgm:pt>
    <dgm:pt modelId="{FD8E5FAD-2E5B-4FDE-84DD-E7535057331D}" type="parTrans" cxnId="{F5BD6279-F375-4AB6-B927-B53F89947C72}">
      <dgm:prSet/>
      <dgm:spPr/>
      <dgm:t>
        <a:bodyPr/>
        <a:lstStyle/>
        <a:p>
          <a:endParaRPr lang="en-US"/>
        </a:p>
      </dgm:t>
    </dgm:pt>
    <dgm:pt modelId="{44EC7272-7A19-4B20-8D5C-3EC707286A40}" type="sibTrans" cxnId="{F5BD6279-F375-4AB6-B927-B53F89947C72}">
      <dgm:prSet/>
      <dgm:spPr/>
      <dgm:t>
        <a:bodyPr/>
        <a:lstStyle/>
        <a:p>
          <a:endParaRPr lang="en-US"/>
        </a:p>
      </dgm:t>
    </dgm:pt>
    <dgm:pt modelId="{DD25871D-46A7-4570-B05C-B31C168A26EC}">
      <dgm:prSet phldrT="[Text]"/>
      <dgm:spPr/>
      <dgm:t>
        <a:bodyPr/>
        <a:lstStyle/>
        <a:p>
          <a:r>
            <a:rPr lang="en-US" dirty="0" smtClean="0"/>
            <a:t>Native DB aware clustering</a:t>
          </a:r>
          <a:endParaRPr lang="en-US" dirty="0"/>
        </a:p>
      </dgm:t>
    </dgm:pt>
    <dgm:pt modelId="{F6E5DC50-BE57-4FEB-81D5-8EFACDF891D6}" type="parTrans" cxnId="{2E55C5B7-A50F-43B5-9F11-4F7164D58BEA}">
      <dgm:prSet/>
      <dgm:spPr/>
      <dgm:t>
        <a:bodyPr/>
        <a:lstStyle/>
        <a:p>
          <a:endParaRPr lang="en-US"/>
        </a:p>
      </dgm:t>
    </dgm:pt>
    <dgm:pt modelId="{6D843949-7ADB-4DB4-9E33-C9B9AA124D9D}" type="sibTrans" cxnId="{2E55C5B7-A50F-43B5-9F11-4F7164D58BEA}">
      <dgm:prSet/>
      <dgm:spPr/>
      <dgm:t>
        <a:bodyPr/>
        <a:lstStyle/>
        <a:p>
          <a:endParaRPr lang="en-US"/>
        </a:p>
      </dgm:t>
    </dgm:pt>
    <dgm:pt modelId="{5D888DE6-0F74-4DAE-A794-6C6BF720FCBA}" type="pres">
      <dgm:prSet presAssocID="{87144B76-B690-4D54-A73C-2CF29445911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40AEEDC-8736-403F-B7A6-91FAE1DB66C9}" type="pres">
      <dgm:prSet presAssocID="{C33E0A65-4565-45AD-806D-6BD9AD9C77B0}" presName="composite" presStyleCnt="0"/>
      <dgm:spPr/>
    </dgm:pt>
    <dgm:pt modelId="{48C63C82-D0BA-4FDE-B18F-5833FD099094}" type="pres">
      <dgm:prSet presAssocID="{C33E0A65-4565-45AD-806D-6BD9AD9C77B0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1194C4-427C-400E-8F32-82FCC79A98EC}" type="pres">
      <dgm:prSet presAssocID="{C33E0A65-4565-45AD-806D-6BD9AD9C77B0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F902E9-BAB4-4343-9756-A9B63D75C924}" type="pres">
      <dgm:prSet presAssocID="{B0FF374A-B60C-41B9-9F1F-6555A46A5FCF}" presName="sp" presStyleCnt="0"/>
      <dgm:spPr/>
    </dgm:pt>
    <dgm:pt modelId="{212A8A6E-0C2D-4BD9-8A62-C68675497C4E}" type="pres">
      <dgm:prSet presAssocID="{683C5E78-E9D7-4416-B974-27378E08F1B3}" presName="composite" presStyleCnt="0"/>
      <dgm:spPr/>
    </dgm:pt>
    <dgm:pt modelId="{3F7927A6-DA41-472D-BDDF-4F9B5A8882AD}" type="pres">
      <dgm:prSet presAssocID="{683C5E78-E9D7-4416-B974-27378E08F1B3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078993-3319-455D-96A5-F7D6B0FF10E5}" type="pres">
      <dgm:prSet presAssocID="{683C5E78-E9D7-4416-B974-27378E08F1B3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42C8C3-3219-48BA-A0DD-819CDB29777C}" type="pres">
      <dgm:prSet presAssocID="{9DF57B64-A7B0-4FFC-BCD7-E34604BF4DB1}" presName="sp" presStyleCnt="0"/>
      <dgm:spPr/>
    </dgm:pt>
    <dgm:pt modelId="{C98D285F-D8AB-40D3-B0BC-2B9ABD98BE71}" type="pres">
      <dgm:prSet presAssocID="{2F969EE5-6241-44F7-B712-4B793B52EAA4}" presName="composite" presStyleCnt="0"/>
      <dgm:spPr/>
    </dgm:pt>
    <dgm:pt modelId="{F61C23C9-79BB-4414-901B-58D5166C6E21}" type="pres">
      <dgm:prSet presAssocID="{2F969EE5-6241-44F7-B712-4B793B52EAA4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228BED-0D90-4E29-B816-1DC7B3094515}" type="pres">
      <dgm:prSet presAssocID="{2F969EE5-6241-44F7-B712-4B793B52EAA4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355D0F-268F-4F69-B686-B8DA7E4C76AD}" type="pres">
      <dgm:prSet presAssocID="{3818BFBE-C05D-4C9C-B8AE-06756EE65005}" presName="sp" presStyleCnt="0"/>
      <dgm:spPr/>
    </dgm:pt>
    <dgm:pt modelId="{7FA5AA02-9F88-4F11-BF1B-BA605254B1DA}" type="pres">
      <dgm:prSet presAssocID="{0451F636-247D-4AC6-AD47-5FFB874F898F}" presName="composite" presStyleCnt="0"/>
      <dgm:spPr/>
    </dgm:pt>
    <dgm:pt modelId="{699572BF-2237-45BA-B874-FD7E6EC3EB89}" type="pres">
      <dgm:prSet presAssocID="{0451F636-247D-4AC6-AD47-5FFB874F898F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0A32BB-F591-46DA-852C-60A14D3A1AFA}" type="pres">
      <dgm:prSet presAssocID="{0451F636-247D-4AC6-AD47-5FFB874F898F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DB32519-B35D-455F-87C9-E87109778FD7}" type="presOf" srcId="{5BE28A20-2F01-47C3-B84C-8755436EF0A7}" destId="{00078993-3319-455D-96A5-F7D6B0FF10E5}" srcOrd="0" destOrd="0" presId="urn:microsoft.com/office/officeart/2005/8/layout/chevron2"/>
    <dgm:cxn modelId="{3D115C5E-0BDE-451F-A49B-B295DB577A0C}" type="presOf" srcId="{0250CA67-808C-453B-A719-E4373748160F}" destId="{6E1194C4-427C-400E-8F32-82FCC79A98EC}" srcOrd="0" destOrd="0" presId="urn:microsoft.com/office/officeart/2005/8/layout/chevron2"/>
    <dgm:cxn modelId="{5E55BE4D-45C8-4F0D-B8C0-0C78AC07F7E8}" srcId="{87144B76-B690-4D54-A73C-2CF294459117}" destId="{683C5E78-E9D7-4416-B974-27378E08F1B3}" srcOrd="1" destOrd="0" parTransId="{B3D9ED63-D202-44A7-B2FB-786B502EF140}" sibTransId="{9DF57B64-A7B0-4FFC-BCD7-E34604BF4DB1}"/>
    <dgm:cxn modelId="{F70811E1-891E-479A-A2F9-BAFFBBA252A0}" type="presOf" srcId="{C33E0A65-4565-45AD-806D-6BD9AD9C77B0}" destId="{48C63C82-D0BA-4FDE-B18F-5833FD099094}" srcOrd="0" destOrd="0" presId="urn:microsoft.com/office/officeart/2005/8/layout/chevron2"/>
    <dgm:cxn modelId="{2E55C5B7-A50F-43B5-9F11-4F7164D58BEA}" srcId="{0451F636-247D-4AC6-AD47-5FFB874F898F}" destId="{DD25871D-46A7-4570-B05C-B31C168A26EC}" srcOrd="0" destOrd="0" parTransId="{F6E5DC50-BE57-4FEB-81D5-8EFACDF891D6}" sibTransId="{6D843949-7ADB-4DB4-9E33-C9B9AA124D9D}"/>
    <dgm:cxn modelId="{328D88BC-C977-4940-9A97-49C6B07BDA5E}" type="presOf" srcId="{DD25871D-46A7-4570-B05C-B31C168A26EC}" destId="{D30A32BB-F591-46DA-852C-60A14D3A1AFA}" srcOrd="0" destOrd="0" presId="urn:microsoft.com/office/officeart/2005/8/layout/chevron2"/>
    <dgm:cxn modelId="{AC91C31E-57C0-4C6C-A421-85F7F679AC6B}" type="presOf" srcId="{87144B76-B690-4D54-A73C-2CF294459117}" destId="{5D888DE6-0F74-4DAE-A794-6C6BF720FCBA}" srcOrd="0" destOrd="0" presId="urn:microsoft.com/office/officeart/2005/8/layout/chevron2"/>
    <dgm:cxn modelId="{D3FC70B6-D968-4FBB-9C2B-B914AEF069F5}" srcId="{87144B76-B690-4D54-A73C-2CF294459117}" destId="{C33E0A65-4565-45AD-806D-6BD9AD9C77B0}" srcOrd="0" destOrd="0" parTransId="{AC7F38D4-7FA7-48C9-8CDE-1A7B5D50C18D}" sibTransId="{B0FF374A-B60C-41B9-9F1F-6555A46A5FCF}"/>
    <dgm:cxn modelId="{A23B9C67-55E1-43C6-AD13-0E94769263D9}" type="presOf" srcId="{0451F636-247D-4AC6-AD47-5FFB874F898F}" destId="{699572BF-2237-45BA-B874-FD7E6EC3EB89}" srcOrd="0" destOrd="0" presId="urn:microsoft.com/office/officeart/2005/8/layout/chevron2"/>
    <dgm:cxn modelId="{25ECE628-06E1-49F7-BE7F-5DE62299A1CD}" srcId="{87144B76-B690-4D54-A73C-2CF294459117}" destId="{2F969EE5-6241-44F7-B712-4B793B52EAA4}" srcOrd="2" destOrd="0" parTransId="{2E849AAA-CA4F-41E4-A2C7-3F7BD3B95846}" sibTransId="{3818BFBE-C05D-4C9C-B8AE-06756EE65005}"/>
    <dgm:cxn modelId="{8E2ACB36-A1AB-4A2B-8D58-F465B2E209BE}" type="presOf" srcId="{65FFDB59-AC8C-40B4-B179-0A2DA144E8F9}" destId="{A3228BED-0D90-4E29-B816-1DC7B3094515}" srcOrd="0" destOrd="0" presId="urn:microsoft.com/office/officeart/2005/8/layout/chevron2"/>
    <dgm:cxn modelId="{33B33B51-FCF2-4594-B8E4-9E74E10C4FF7}" type="presOf" srcId="{683C5E78-E9D7-4416-B974-27378E08F1B3}" destId="{3F7927A6-DA41-472D-BDDF-4F9B5A8882AD}" srcOrd="0" destOrd="0" presId="urn:microsoft.com/office/officeart/2005/8/layout/chevron2"/>
    <dgm:cxn modelId="{F5BD6279-F375-4AB6-B927-B53F89947C72}" srcId="{87144B76-B690-4D54-A73C-2CF294459117}" destId="{0451F636-247D-4AC6-AD47-5FFB874F898F}" srcOrd="3" destOrd="0" parTransId="{FD8E5FAD-2E5B-4FDE-84DD-E7535057331D}" sibTransId="{44EC7272-7A19-4B20-8D5C-3EC707286A40}"/>
    <dgm:cxn modelId="{81944B1D-4548-4642-8D11-A2610FA4F8AE}" type="presOf" srcId="{2F969EE5-6241-44F7-B712-4B793B52EAA4}" destId="{F61C23C9-79BB-4414-901B-58D5166C6E21}" srcOrd="0" destOrd="0" presId="urn:microsoft.com/office/officeart/2005/8/layout/chevron2"/>
    <dgm:cxn modelId="{6DC776CD-6084-4882-94CB-2D2F44F04156}" srcId="{2F969EE5-6241-44F7-B712-4B793B52EAA4}" destId="{65FFDB59-AC8C-40B4-B179-0A2DA144E8F9}" srcOrd="0" destOrd="0" parTransId="{C72C7C70-F77B-4268-82E3-796BA115F146}" sibTransId="{B78341D1-47A9-46B9-BE54-D2C8D8775112}"/>
    <dgm:cxn modelId="{16D8208C-8885-4F0A-8A04-50CA7EF014CE}" type="presOf" srcId="{ACBCCF50-3518-4C57-99F6-39F689D879FF}" destId="{00078993-3319-455D-96A5-F7D6B0FF10E5}" srcOrd="0" destOrd="1" presId="urn:microsoft.com/office/officeart/2005/8/layout/chevron2"/>
    <dgm:cxn modelId="{953E66C7-EF70-4DB7-9F63-89E497751789}" srcId="{683C5E78-E9D7-4416-B974-27378E08F1B3}" destId="{ACBCCF50-3518-4C57-99F6-39F689D879FF}" srcOrd="1" destOrd="0" parTransId="{F629E31B-62B1-486F-B00D-37F52CEABF45}" sibTransId="{415193FF-73AD-45E5-879E-967E10D754AC}"/>
    <dgm:cxn modelId="{0D64A981-1A84-4943-901D-950E5ED5B15B}" srcId="{683C5E78-E9D7-4416-B974-27378E08F1B3}" destId="{5BE28A20-2F01-47C3-B84C-8755436EF0A7}" srcOrd="0" destOrd="0" parTransId="{DC10DEAF-D18E-48D4-B4E1-D419EC732E40}" sibTransId="{B88B98E7-DA46-44E5-8D0D-3DBE8F68F2E5}"/>
    <dgm:cxn modelId="{5BBA965D-F44C-429F-9471-6241AFD5E96B}" srcId="{C33E0A65-4565-45AD-806D-6BD9AD9C77B0}" destId="{0250CA67-808C-453B-A719-E4373748160F}" srcOrd="0" destOrd="0" parTransId="{74245DA4-1EE0-4B58-9C7F-882190E5111D}" sibTransId="{007165A4-7950-44A7-AE42-8FE4D884146E}"/>
    <dgm:cxn modelId="{639B915A-EAE4-4B35-94B8-84CBDB76F8B2}" type="presParOf" srcId="{5D888DE6-0F74-4DAE-A794-6C6BF720FCBA}" destId="{540AEEDC-8736-403F-B7A6-91FAE1DB66C9}" srcOrd="0" destOrd="0" presId="urn:microsoft.com/office/officeart/2005/8/layout/chevron2"/>
    <dgm:cxn modelId="{CA37EC1F-9EF7-4755-A2B9-9F62C89F308B}" type="presParOf" srcId="{540AEEDC-8736-403F-B7A6-91FAE1DB66C9}" destId="{48C63C82-D0BA-4FDE-B18F-5833FD099094}" srcOrd="0" destOrd="0" presId="urn:microsoft.com/office/officeart/2005/8/layout/chevron2"/>
    <dgm:cxn modelId="{A701531D-B924-47B0-A258-E6C9EA86787C}" type="presParOf" srcId="{540AEEDC-8736-403F-B7A6-91FAE1DB66C9}" destId="{6E1194C4-427C-400E-8F32-82FCC79A98EC}" srcOrd="1" destOrd="0" presId="urn:microsoft.com/office/officeart/2005/8/layout/chevron2"/>
    <dgm:cxn modelId="{FC0C2434-A400-472C-9AE0-A2DE714F7587}" type="presParOf" srcId="{5D888DE6-0F74-4DAE-A794-6C6BF720FCBA}" destId="{4CF902E9-BAB4-4343-9756-A9B63D75C924}" srcOrd="1" destOrd="0" presId="urn:microsoft.com/office/officeart/2005/8/layout/chevron2"/>
    <dgm:cxn modelId="{E5ACE4A5-06C5-429E-8E5F-1C237C552497}" type="presParOf" srcId="{5D888DE6-0F74-4DAE-A794-6C6BF720FCBA}" destId="{212A8A6E-0C2D-4BD9-8A62-C68675497C4E}" srcOrd="2" destOrd="0" presId="urn:microsoft.com/office/officeart/2005/8/layout/chevron2"/>
    <dgm:cxn modelId="{864C9E38-F26A-41A6-9E9E-9DFBA87EE8C7}" type="presParOf" srcId="{212A8A6E-0C2D-4BD9-8A62-C68675497C4E}" destId="{3F7927A6-DA41-472D-BDDF-4F9B5A8882AD}" srcOrd="0" destOrd="0" presId="urn:microsoft.com/office/officeart/2005/8/layout/chevron2"/>
    <dgm:cxn modelId="{CA7ECADB-2CF0-4C35-8D3A-D958C0B48639}" type="presParOf" srcId="{212A8A6E-0C2D-4BD9-8A62-C68675497C4E}" destId="{00078993-3319-455D-96A5-F7D6B0FF10E5}" srcOrd="1" destOrd="0" presId="urn:microsoft.com/office/officeart/2005/8/layout/chevron2"/>
    <dgm:cxn modelId="{057E6185-E5FD-4FBD-A3B6-127B7B42C478}" type="presParOf" srcId="{5D888DE6-0F74-4DAE-A794-6C6BF720FCBA}" destId="{4E42C8C3-3219-48BA-A0DD-819CDB29777C}" srcOrd="3" destOrd="0" presId="urn:microsoft.com/office/officeart/2005/8/layout/chevron2"/>
    <dgm:cxn modelId="{0C3032F5-FD56-44D2-A348-8BD1208B02C1}" type="presParOf" srcId="{5D888DE6-0F74-4DAE-A794-6C6BF720FCBA}" destId="{C98D285F-D8AB-40D3-B0BC-2B9ABD98BE71}" srcOrd="4" destOrd="0" presId="urn:microsoft.com/office/officeart/2005/8/layout/chevron2"/>
    <dgm:cxn modelId="{0102C519-6851-4737-BDC7-295EB8B69C56}" type="presParOf" srcId="{C98D285F-D8AB-40D3-B0BC-2B9ABD98BE71}" destId="{F61C23C9-79BB-4414-901B-58D5166C6E21}" srcOrd="0" destOrd="0" presId="urn:microsoft.com/office/officeart/2005/8/layout/chevron2"/>
    <dgm:cxn modelId="{3582C078-7958-47C9-8B3A-BBD5C50206DC}" type="presParOf" srcId="{C98D285F-D8AB-40D3-B0BC-2B9ABD98BE71}" destId="{A3228BED-0D90-4E29-B816-1DC7B3094515}" srcOrd="1" destOrd="0" presId="urn:microsoft.com/office/officeart/2005/8/layout/chevron2"/>
    <dgm:cxn modelId="{0A42541B-5DB8-4106-94EA-F5DA6C08A20C}" type="presParOf" srcId="{5D888DE6-0F74-4DAE-A794-6C6BF720FCBA}" destId="{99355D0F-268F-4F69-B686-B8DA7E4C76AD}" srcOrd="5" destOrd="0" presId="urn:microsoft.com/office/officeart/2005/8/layout/chevron2"/>
    <dgm:cxn modelId="{9F020CF9-8DD0-4662-BE3F-D462316E5FFD}" type="presParOf" srcId="{5D888DE6-0F74-4DAE-A794-6C6BF720FCBA}" destId="{7FA5AA02-9F88-4F11-BF1B-BA605254B1DA}" srcOrd="6" destOrd="0" presId="urn:microsoft.com/office/officeart/2005/8/layout/chevron2"/>
    <dgm:cxn modelId="{DCA3D41D-2FAF-4490-9319-D360AFD4C657}" type="presParOf" srcId="{7FA5AA02-9F88-4F11-BF1B-BA605254B1DA}" destId="{699572BF-2237-45BA-B874-FD7E6EC3EB89}" srcOrd="0" destOrd="0" presId="urn:microsoft.com/office/officeart/2005/8/layout/chevron2"/>
    <dgm:cxn modelId="{2BC914C7-0D33-4455-B522-71EC38DD0A25}" type="presParOf" srcId="{7FA5AA02-9F88-4F11-BF1B-BA605254B1DA}" destId="{D30A32BB-F591-46DA-852C-60A14D3A1AF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0973E58-6247-4517-9DDB-CB5A7F549CA1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BD0C457-3038-4C1F-B51F-6620DBE72FAC}">
      <dgm:prSet phldrT="[Text]"/>
      <dgm:spPr>
        <a:solidFill>
          <a:srgbClr val="ED1933"/>
        </a:solidFill>
      </dgm:spPr>
      <dgm:t>
        <a:bodyPr/>
        <a:lstStyle/>
        <a:p>
          <a:r>
            <a:rPr lang="en-US" dirty="0" smtClean="0"/>
            <a:t>DWH</a:t>
          </a:r>
          <a:endParaRPr lang="en-US" dirty="0"/>
        </a:p>
      </dgm:t>
    </dgm:pt>
    <dgm:pt modelId="{14075D59-9799-4911-8B6F-4C91FE78BD97}" type="parTrans" cxnId="{86E8FC02-AEA1-4E0E-85BC-A1EC91880D0E}">
      <dgm:prSet/>
      <dgm:spPr/>
      <dgm:t>
        <a:bodyPr/>
        <a:lstStyle/>
        <a:p>
          <a:endParaRPr lang="en-US"/>
        </a:p>
      </dgm:t>
    </dgm:pt>
    <dgm:pt modelId="{68FDD76E-5CD7-46DC-A6B6-1B936D1587E4}" type="sibTrans" cxnId="{86E8FC02-AEA1-4E0E-85BC-A1EC91880D0E}">
      <dgm:prSet/>
      <dgm:spPr/>
      <dgm:t>
        <a:bodyPr/>
        <a:lstStyle/>
        <a:p>
          <a:endParaRPr lang="en-US"/>
        </a:p>
      </dgm:t>
    </dgm:pt>
    <dgm:pt modelId="{1FDD8BDF-A1DB-4BF8-A096-134A53210648}">
      <dgm:prSet phldrT="[Text]"/>
      <dgm:spPr>
        <a:solidFill>
          <a:srgbClr val="464646"/>
        </a:solidFill>
      </dgm:spPr>
      <dgm:t>
        <a:bodyPr/>
        <a:lstStyle/>
        <a:p>
          <a:r>
            <a:rPr lang="en-US" b="0" dirty="0" smtClean="0"/>
            <a:t>How will we use this data?</a:t>
          </a:r>
          <a:endParaRPr lang="en-US" dirty="0"/>
        </a:p>
      </dgm:t>
    </dgm:pt>
    <dgm:pt modelId="{6B25550D-107B-44A8-93AD-6B1558771D0A}" type="parTrans" cxnId="{F27F585D-30E0-4071-88E4-303882E06709}">
      <dgm:prSet/>
      <dgm:spPr/>
      <dgm:t>
        <a:bodyPr/>
        <a:lstStyle/>
        <a:p>
          <a:endParaRPr lang="en-US"/>
        </a:p>
      </dgm:t>
    </dgm:pt>
    <dgm:pt modelId="{EB996CB5-3F13-4598-898F-B54105F9EE21}" type="sibTrans" cxnId="{F27F585D-30E0-4071-88E4-303882E06709}">
      <dgm:prSet/>
      <dgm:spPr/>
      <dgm:t>
        <a:bodyPr/>
        <a:lstStyle/>
        <a:p>
          <a:endParaRPr lang="en-US"/>
        </a:p>
      </dgm:t>
    </dgm:pt>
    <dgm:pt modelId="{228B59B2-0AD4-4AAD-A23A-A849768BC2B5}">
      <dgm:prSet phldrT="[Text]"/>
      <dgm:spPr>
        <a:solidFill>
          <a:srgbClr val="464646"/>
        </a:solidFill>
      </dgm:spPr>
      <dgm:t>
        <a:bodyPr/>
        <a:lstStyle/>
        <a:p>
          <a:r>
            <a:rPr lang="en-US" b="0" dirty="0" smtClean="0"/>
            <a:t>What problem are we trying to solve?</a:t>
          </a:r>
          <a:endParaRPr lang="en-US" dirty="0"/>
        </a:p>
      </dgm:t>
    </dgm:pt>
    <dgm:pt modelId="{B442261B-C8D0-4595-B564-8B78EC293524}" type="parTrans" cxnId="{17B347F1-D9D0-4B2B-BD49-5C9B9DB0A482}">
      <dgm:prSet/>
      <dgm:spPr/>
      <dgm:t>
        <a:bodyPr/>
        <a:lstStyle/>
        <a:p>
          <a:endParaRPr lang="en-US"/>
        </a:p>
      </dgm:t>
    </dgm:pt>
    <dgm:pt modelId="{5ED7BF1C-16D5-4903-BB84-843B88F09516}" type="sibTrans" cxnId="{17B347F1-D9D0-4B2B-BD49-5C9B9DB0A482}">
      <dgm:prSet/>
      <dgm:spPr/>
      <dgm:t>
        <a:bodyPr/>
        <a:lstStyle/>
        <a:p>
          <a:endParaRPr lang="en-US"/>
        </a:p>
      </dgm:t>
    </dgm:pt>
    <dgm:pt modelId="{8D8EC65A-6078-4F3F-9817-BFFD9FAE6B13}">
      <dgm:prSet phldrT="[Text]"/>
      <dgm:spPr>
        <a:solidFill>
          <a:srgbClr val="464646"/>
        </a:solidFill>
      </dgm:spPr>
      <dgm:t>
        <a:bodyPr/>
        <a:lstStyle/>
        <a:p>
          <a:r>
            <a:rPr lang="en-US" b="0" dirty="0" smtClean="0"/>
            <a:t>Who will be viewing the reports or end product?</a:t>
          </a:r>
          <a:r>
            <a:rPr lang="en-US" dirty="0" smtClean="0"/>
            <a:t/>
          </a:r>
          <a:br>
            <a:rPr lang="en-US" dirty="0" smtClean="0"/>
          </a:br>
          <a:endParaRPr lang="en-US" dirty="0"/>
        </a:p>
      </dgm:t>
    </dgm:pt>
    <dgm:pt modelId="{18294131-E90D-4B13-B8D1-2AA5107F988C}" type="parTrans" cxnId="{2F8A2001-FFAA-48CF-8189-33585361CA06}">
      <dgm:prSet/>
      <dgm:spPr/>
      <dgm:t>
        <a:bodyPr/>
        <a:lstStyle/>
        <a:p>
          <a:endParaRPr lang="en-US"/>
        </a:p>
      </dgm:t>
    </dgm:pt>
    <dgm:pt modelId="{7B18AC3B-C222-4303-B4A1-0D529EEB89AC}" type="sibTrans" cxnId="{2F8A2001-FFAA-48CF-8189-33585361CA06}">
      <dgm:prSet/>
      <dgm:spPr/>
      <dgm:t>
        <a:bodyPr/>
        <a:lstStyle/>
        <a:p>
          <a:endParaRPr lang="en-US"/>
        </a:p>
      </dgm:t>
    </dgm:pt>
    <dgm:pt modelId="{D817C371-2FC7-4442-A0A5-AC276087454F}">
      <dgm:prSet phldrT="[Text]"/>
      <dgm:spPr>
        <a:solidFill>
          <a:srgbClr val="464646"/>
        </a:solidFill>
      </dgm:spPr>
      <dgm:t>
        <a:bodyPr/>
        <a:lstStyle/>
        <a:p>
          <a:r>
            <a:rPr lang="en-US" b="0" dirty="0" smtClean="0"/>
            <a:t>What decisions do they ultimately want to make using this data?</a:t>
          </a:r>
          <a:endParaRPr lang="en-US" dirty="0"/>
        </a:p>
      </dgm:t>
    </dgm:pt>
    <dgm:pt modelId="{8B10732B-6A32-4764-AEAA-02AB3559484B}" type="parTrans" cxnId="{6261CB30-016F-42C8-A946-8C00F4E419A4}">
      <dgm:prSet/>
      <dgm:spPr/>
      <dgm:t>
        <a:bodyPr/>
        <a:lstStyle/>
        <a:p>
          <a:endParaRPr lang="en-US"/>
        </a:p>
      </dgm:t>
    </dgm:pt>
    <dgm:pt modelId="{8C75B2C4-C2CC-453D-B24D-A5CB39849CAA}" type="sibTrans" cxnId="{6261CB30-016F-42C8-A946-8C00F4E419A4}">
      <dgm:prSet/>
      <dgm:spPr/>
      <dgm:t>
        <a:bodyPr/>
        <a:lstStyle/>
        <a:p>
          <a:endParaRPr lang="en-US"/>
        </a:p>
      </dgm:t>
    </dgm:pt>
    <dgm:pt modelId="{D0894367-6AE6-4B64-91BD-CDD97CC57F1B}" type="pres">
      <dgm:prSet presAssocID="{80973E58-6247-4517-9DDB-CB5A7F549CA1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C95B496-32B1-4D82-A1AF-8B0A9EAAA2D6}" type="pres">
      <dgm:prSet presAssocID="{80973E58-6247-4517-9DDB-CB5A7F549CA1}" presName="matrix" presStyleCnt="0"/>
      <dgm:spPr/>
    </dgm:pt>
    <dgm:pt modelId="{1BA57B78-9325-40E6-960F-07A0FAB3E40F}" type="pres">
      <dgm:prSet presAssocID="{80973E58-6247-4517-9DDB-CB5A7F549CA1}" presName="tile1" presStyleLbl="node1" presStyleIdx="0" presStyleCnt="4"/>
      <dgm:spPr/>
      <dgm:t>
        <a:bodyPr/>
        <a:lstStyle/>
        <a:p>
          <a:endParaRPr lang="en-US"/>
        </a:p>
      </dgm:t>
    </dgm:pt>
    <dgm:pt modelId="{9DD36095-D049-487E-92DC-1FF4B7BD6B7D}" type="pres">
      <dgm:prSet presAssocID="{80973E58-6247-4517-9DDB-CB5A7F549CA1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3F9268-DAB4-4A73-BE6C-92B306445ED8}" type="pres">
      <dgm:prSet presAssocID="{80973E58-6247-4517-9DDB-CB5A7F549CA1}" presName="tile2" presStyleLbl="node1" presStyleIdx="1" presStyleCnt="4"/>
      <dgm:spPr/>
      <dgm:t>
        <a:bodyPr/>
        <a:lstStyle/>
        <a:p>
          <a:endParaRPr lang="en-US"/>
        </a:p>
      </dgm:t>
    </dgm:pt>
    <dgm:pt modelId="{4EBB9EE3-74E1-4F53-8FAC-873CD780C754}" type="pres">
      <dgm:prSet presAssocID="{80973E58-6247-4517-9DDB-CB5A7F549CA1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425072-5A5C-4E0B-A485-957321B3DD6F}" type="pres">
      <dgm:prSet presAssocID="{80973E58-6247-4517-9DDB-CB5A7F549CA1}" presName="tile3" presStyleLbl="node1" presStyleIdx="2" presStyleCnt="4"/>
      <dgm:spPr/>
      <dgm:t>
        <a:bodyPr/>
        <a:lstStyle/>
        <a:p>
          <a:endParaRPr lang="en-US"/>
        </a:p>
      </dgm:t>
    </dgm:pt>
    <dgm:pt modelId="{74C46D67-2DAF-42EE-89ED-61E7F774A761}" type="pres">
      <dgm:prSet presAssocID="{80973E58-6247-4517-9DDB-CB5A7F549CA1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87A2F5-7170-4DF7-A053-03D3F6C70A58}" type="pres">
      <dgm:prSet presAssocID="{80973E58-6247-4517-9DDB-CB5A7F549CA1}" presName="tile4" presStyleLbl="node1" presStyleIdx="3" presStyleCnt="4"/>
      <dgm:spPr/>
      <dgm:t>
        <a:bodyPr/>
        <a:lstStyle/>
        <a:p>
          <a:endParaRPr lang="en-US"/>
        </a:p>
      </dgm:t>
    </dgm:pt>
    <dgm:pt modelId="{D41DD4D6-89FF-4762-8530-9C3E7E12C794}" type="pres">
      <dgm:prSet presAssocID="{80973E58-6247-4517-9DDB-CB5A7F549CA1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613007-6014-4C83-99B1-5D43727D2154}" type="pres">
      <dgm:prSet presAssocID="{80973E58-6247-4517-9DDB-CB5A7F549CA1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C4047197-1A2E-4644-AD92-7AC1FE5C5EAC}" type="presOf" srcId="{1FDD8BDF-A1DB-4BF8-A096-134A53210648}" destId="{1BA57B78-9325-40E6-960F-07A0FAB3E40F}" srcOrd="0" destOrd="0" presId="urn:microsoft.com/office/officeart/2005/8/layout/matrix1"/>
    <dgm:cxn modelId="{5F493092-4554-4A33-8477-D948866D85CC}" type="presOf" srcId="{D817C371-2FC7-4442-A0A5-AC276087454F}" destId="{D41DD4D6-89FF-4762-8530-9C3E7E12C794}" srcOrd="1" destOrd="0" presId="urn:microsoft.com/office/officeart/2005/8/layout/matrix1"/>
    <dgm:cxn modelId="{D7F66D95-DBE4-41C2-8833-AC7CE2EEAB90}" type="presOf" srcId="{228B59B2-0AD4-4AAD-A23A-A849768BC2B5}" destId="{4EBB9EE3-74E1-4F53-8FAC-873CD780C754}" srcOrd="1" destOrd="0" presId="urn:microsoft.com/office/officeart/2005/8/layout/matrix1"/>
    <dgm:cxn modelId="{97207FE7-6E83-42DD-A79B-87BB32F11391}" type="presOf" srcId="{228B59B2-0AD4-4AAD-A23A-A849768BC2B5}" destId="{263F9268-DAB4-4A73-BE6C-92B306445ED8}" srcOrd="0" destOrd="0" presId="urn:microsoft.com/office/officeart/2005/8/layout/matrix1"/>
    <dgm:cxn modelId="{0032E2E2-1C40-4995-BCF2-9ADA8A6FA628}" type="presOf" srcId="{8D8EC65A-6078-4F3F-9817-BFFD9FAE6B13}" destId="{24425072-5A5C-4E0B-A485-957321B3DD6F}" srcOrd="0" destOrd="0" presId="urn:microsoft.com/office/officeart/2005/8/layout/matrix1"/>
    <dgm:cxn modelId="{9DEF9086-68C1-4174-9599-7525652A7020}" type="presOf" srcId="{4BD0C457-3038-4C1F-B51F-6620DBE72FAC}" destId="{09613007-6014-4C83-99B1-5D43727D2154}" srcOrd="0" destOrd="0" presId="urn:microsoft.com/office/officeart/2005/8/layout/matrix1"/>
    <dgm:cxn modelId="{6261CB30-016F-42C8-A946-8C00F4E419A4}" srcId="{4BD0C457-3038-4C1F-B51F-6620DBE72FAC}" destId="{D817C371-2FC7-4442-A0A5-AC276087454F}" srcOrd="3" destOrd="0" parTransId="{8B10732B-6A32-4764-AEAA-02AB3559484B}" sibTransId="{8C75B2C4-C2CC-453D-B24D-A5CB39849CAA}"/>
    <dgm:cxn modelId="{2F8A2001-FFAA-48CF-8189-33585361CA06}" srcId="{4BD0C457-3038-4C1F-B51F-6620DBE72FAC}" destId="{8D8EC65A-6078-4F3F-9817-BFFD9FAE6B13}" srcOrd="2" destOrd="0" parTransId="{18294131-E90D-4B13-B8D1-2AA5107F988C}" sibTransId="{7B18AC3B-C222-4303-B4A1-0D529EEB89AC}"/>
    <dgm:cxn modelId="{CCAEE8E0-55FC-49D1-ADF7-C689FC8BCF65}" type="presOf" srcId="{1FDD8BDF-A1DB-4BF8-A096-134A53210648}" destId="{9DD36095-D049-487E-92DC-1FF4B7BD6B7D}" srcOrd="1" destOrd="0" presId="urn:microsoft.com/office/officeart/2005/8/layout/matrix1"/>
    <dgm:cxn modelId="{CE070090-1BCC-431C-9D7B-181510A12D17}" type="presOf" srcId="{80973E58-6247-4517-9DDB-CB5A7F549CA1}" destId="{D0894367-6AE6-4B64-91BD-CDD97CC57F1B}" srcOrd="0" destOrd="0" presId="urn:microsoft.com/office/officeart/2005/8/layout/matrix1"/>
    <dgm:cxn modelId="{17B347F1-D9D0-4B2B-BD49-5C9B9DB0A482}" srcId="{4BD0C457-3038-4C1F-B51F-6620DBE72FAC}" destId="{228B59B2-0AD4-4AAD-A23A-A849768BC2B5}" srcOrd="1" destOrd="0" parTransId="{B442261B-C8D0-4595-B564-8B78EC293524}" sibTransId="{5ED7BF1C-16D5-4903-BB84-843B88F09516}"/>
    <dgm:cxn modelId="{300FAC62-173E-4853-B5B0-BE6DCB12A90E}" type="presOf" srcId="{D817C371-2FC7-4442-A0A5-AC276087454F}" destId="{DF87A2F5-7170-4DF7-A053-03D3F6C70A58}" srcOrd="0" destOrd="0" presId="urn:microsoft.com/office/officeart/2005/8/layout/matrix1"/>
    <dgm:cxn modelId="{32BDA330-B84A-4A89-97F0-61EFDBBD0719}" type="presOf" srcId="{8D8EC65A-6078-4F3F-9817-BFFD9FAE6B13}" destId="{74C46D67-2DAF-42EE-89ED-61E7F774A761}" srcOrd="1" destOrd="0" presId="urn:microsoft.com/office/officeart/2005/8/layout/matrix1"/>
    <dgm:cxn modelId="{F27F585D-30E0-4071-88E4-303882E06709}" srcId="{4BD0C457-3038-4C1F-B51F-6620DBE72FAC}" destId="{1FDD8BDF-A1DB-4BF8-A096-134A53210648}" srcOrd="0" destOrd="0" parTransId="{6B25550D-107B-44A8-93AD-6B1558771D0A}" sibTransId="{EB996CB5-3F13-4598-898F-B54105F9EE21}"/>
    <dgm:cxn modelId="{86E8FC02-AEA1-4E0E-85BC-A1EC91880D0E}" srcId="{80973E58-6247-4517-9DDB-CB5A7F549CA1}" destId="{4BD0C457-3038-4C1F-B51F-6620DBE72FAC}" srcOrd="0" destOrd="0" parTransId="{14075D59-9799-4911-8B6F-4C91FE78BD97}" sibTransId="{68FDD76E-5CD7-46DC-A6B6-1B936D1587E4}"/>
    <dgm:cxn modelId="{22663D97-F0A4-4E5C-B5FE-D1B4C30AF263}" type="presParOf" srcId="{D0894367-6AE6-4B64-91BD-CDD97CC57F1B}" destId="{3C95B496-32B1-4D82-A1AF-8B0A9EAAA2D6}" srcOrd="0" destOrd="0" presId="urn:microsoft.com/office/officeart/2005/8/layout/matrix1"/>
    <dgm:cxn modelId="{4D19FDCC-B0CE-4E57-8D26-10C3B6D4C7CE}" type="presParOf" srcId="{3C95B496-32B1-4D82-A1AF-8B0A9EAAA2D6}" destId="{1BA57B78-9325-40E6-960F-07A0FAB3E40F}" srcOrd="0" destOrd="0" presId="urn:microsoft.com/office/officeart/2005/8/layout/matrix1"/>
    <dgm:cxn modelId="{F197C2AE-F62B-4ED2-B6FA-E4853278331E}" type="presParOf" srcId="{3C95B496-32B1-4D82-A1AF-8B0A9EAAA2D6}" destId="{9DD36095-D049-487E-92DC-1FF4B7BD6B7D}" srcOrd="1" destOrd="0" presId="urn:microsoft.com/office/officeart/2005/8/layout/matrix1"/>
    <dgm:cxn modelId="{5A1BE716-FC9D-471D-8AEA-0808B2FFA595}" type="presParOf" srcId="{3C95B496-32B1-4D82-A1AF-8B0A9EAAA2D6}" destId="{263F9268-DAB4-4A73-BE6C-92B306445ED8}" srcOrd="2" destOrd="0" presId="urn:microsoft.com/office/officeart/2005/8/layout/matrix1"/>
    <dgm:cxn modelId="{8DC16711-DD04-45AA-BEE7-A089B782BF0A}" type="presParOf" srcId="{3C95B496-32B1-4D82-A1AF-8B0A9EAAA2D6}" destId="{4EBB9EE3-74E1-4F53-8FAC-873CD780C754}" srcOrd="3" destOrd="0" presId="urn:microsoft.com/office/officeart/2005/8/layout/matrix1"/>
    <dgm:cxn modelId="{CCF6CB94-0C3F-4203-88E3-81618FCF4CF7}" type="presParOf" srcId="{3C95B496-32B1-4D82-A1AF-8B0A9EAAA2D6}" destId="{24425072-5A5C-4E0B-A485-957321B3DD6F}" srcOrd="4" destOrd="0" presId="urn:microsoft.com/office/officeart/2005/8/layout/matrix1"/>
    <dgm:cxn modelId="{F808D848-8836-4DD4-92A2-9695ADD72966}" type="presParOf" srcId="{3C95B496-32B1-4D82-A1AF-8B0A9EAAA2D6}" destId="{74C46D67-2DAF-42EE-89ED-61E7F774A761}" srcOrd="5" destOrd="0" presId="urn:microsoft.com/office/officeart/2005/8/layout/matrix1"/>
    <dgm:cxn modelId="{8B3A3108-BDD9-4565-AA30-A898EFF58B85}" type="presParOf" srcId="{3C95B496-32B1-4D82-A1AF-8B0A9EAAA2D6}" destId="{DF87A2F5-7170-4DF7-A053-03D3F6C70A58}" srcOrd="6" destOrd="0" presId="urn:microsoft.com/office/officeart/2005/8/layout/matrix1"/>
    <dgm:cxn modelId="{882AD3A6-930C-4803-BAB9-58FC0CBC1F43}" type="presParOf" srcId="{3C95B496-32B1-4D82-A1AF-8B0A9EAAA2D6}" destId="{D41DD4D6-89FF-4762-8530-9C3E7E12C794}" srcOrd="7" destOrd="0" presId="urn:microsoft.com/office/officeart/2005/8/layout/matrix1"/>
    <dgm:cxn modelId="{1403C115-8DD9-45E3-8B3D-5CD32F935419}" type="presParOf" srcId="{D0894367-6AE6-4B64-91BD-CDD97CC57F1B}" destId="{09613007-6014-4C83-99B1-5D43727D2154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EAAF971-DB48-4711-BC20-40C656AF480D}" type="doc">
      <dgm:prSet loTypeId="urn:microsoft.com/office/officeart/2005/8/layout/hierarchy4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1D35012-E7E4-4859-A3F0-25CBD2D11916}">
      <dgm:prSet phldrT="[Text]" custT="1"/>
      <dgm:spPr/>
      <dgm:t>
        <a:bodyPr/>
        <a:lstStyle/>
        <a:p>
          <a:r>
            <a:rPr lang="en-US" sz="2400" dirty="0" smtClean="0"/>
            <a:t>Project Manager</a:t>
          </a:r>
          <a:endParaRPr lang="en-US" sz="2400" dirty="0"/>
        </a:p>
      </dgm:t>
    </dgm:pt>
    <dgm:pt modelId="{78646A57-9086-4DEC-9FCD-70BEF8E93BFE}" type="parTrans" cxnId="{D0C9FB6D-5607-43B8-8990-D13DE1DA4F0D}">
      <dgm:prSet/>
      <dgm:spPr/>
      <dgm:t>
        <a:bodyPr/>
        <a:lstStyle/>
        <a:p>
          <a:endParaRPr lang="en-US"/>
        </a:p>
      </dgm:t>
    </dgm:pt>
    <dgm:pt modelId="{FF251637-E129-484D-951F-BE8C4E11746C}" type="sibTrans" cxnId="{D0C9FB6D-5607-43B8-8990-D13DE1DA4F0D}">
      <dgm:prSet/>
      <dgm:spPr/>
      <dgm:t>
        <a:bodyPr/>
        <a:lstStyle/>
        <a:p>
          <a:endParaRPr lang="en-US"/>
        </a:p>
      </dgm:t>
    </dgm:pt>
    <dgm:pt modelId="{0A60195C-C89F-4FE1-80FF-C412B0455AD1}">
      <dgm:prSet phldrT="[Text]"/>
      <dgm:spPr/>
      <dgm:t>
        <a:bodyPr/>
        <a:lstStyle/>
        <a:p>
          <a:r>
            <a:rPr lang="en-US" dirty="0" smtClean="0"/>
            <a:t>System / Solution Architect</a:t>
          </a:r>
          <a:endParaRPr lang="en-US" dirty="0"/>
        </a:p>
      </dgm:t>
    </dgm:pt>
    <dgm:pt modelId="{A6C5D001-2913-47FA-A5A3-8352FC9144F8}" type="parTrans" cxnId="{08C7D8EB-FE6D-4744-B558-B040EC772320}">
      <dgm:prSet/>
      <dgm:spPr/>
      <dgm:t>
        <a:bodyPr/>
        <a:lstStyle/>
        <a:p>
          <a:endParaRPr lang="en-US"/>
        </a:p>
      </dgm:t>
    </dgm:pt>
    <dgm:pt modelId="{843E50D1-A78D-4884-9C7A-D8156FE6EA88}" type="sibTrans" cxnId="{08C7D8EB-FE6D-4744-B558-B040EC772320}">
      <dgm:prSet/>
      <dgm:spPr/>
      <dgm:t>
        <a:bodyPr/>
        <a:lstStyle/>
        <a:p>
          <a:endParaRPr lang="en-US"/>
        </a:p>
      </dgm:t>
    </dgm:pt>
    <dgm:pt modelId="{0170112C-A1CD-46D3-8717-D9DA0A61F087}">
      <dgm:prSet phldrT="[Text]" custT="1"/>
      <dgm:spPr/>
      <dgm:t>
        <a:bodyPr/>
        <a:lstStyle/>
        <a:p>
          <a:r>
            <a:rPr lang="en-US" sz="1600" dirty="0" smtClean="0"/>
            <a:t>Business Analyst</a:t>
          </a:r>
          <a:endParaRPr lang="en-US" sz="1600" dirty="0"/>
        </a:p>
      </dgm:t>
    </dgm:pt>
    <dgm:pt modelId="{A16E5CE6-A081-4D91-8F31-9BDF6FB5D613}" type="parTrans" cxnId="{CA0BD212-6751-457E-A3DD-39826464FAFD}">
      <dgm:prSet/>
      <dgm:spPr/>
      <dgm:t>
        <a:bodyPr/>
        <a:lstStyle/>
        <a:p>
          <a:endParaRPr lang="en-US"/>
        </a:p>
      </dgm:t>
    </dgm:pt>
    <dgm:pt modelId="{C75D6714-0B1C-46BE-B5E5-B0D761B40A68}" type="sibTrans" cxnId="{CA0BD212-6751-457E-A3DD-39826464FAFD}">
      <dgm:prSet/>
      <dgm:spPr/>
      <dgm:t>
        <a:bodyPr/>
        <a:lstStyle/>
        <a:p>
          <a:endParaRPr lang="en-US"/>
        </a:p>
      </dgm:t>
    </dgm:pt>
    <dgm:pt modelId="{E7913655-DA13-4D87-BCED-9A36DAB95ECB}">
      <dgm:prSet phldrT="[Text]" custT="1"/>
      <dgm:spPr/>
      <dgm:t>
        <a:bodyPr/>
        <a:lstStyle/>
        <a:p>
          <a:r>
            <a:rPr lang="en-US" sz="2400" dirty="0" smtClean="0"/>
            <a:t>Development Team Leader</a:t>
          </a:r>
          <a:endParaRPr lang="en-US" sz="2400" dirty="0"/>
        </a:p>
      </dgm:t>
    </dgm:pt>
    <dgm:pt modelId="{63B3805E-529A-4578-B193-B55F34DC1A88}" type="parTrans" cxnId="{775BBD6C-E545-4E3F-94C9-E7D6DF26F007}">
      <dgm:prSet/>
      <dgm:spPr/>
      <dgm:t>
        <a:bodyPr/>
        <a:lstStyle/>
        <a:p>
          <a:endParaRPr lang="en-US"/>
        </a:p>
      </dgm:t>
    </dgm:pt>
    <dgm:pt modelId="{27F90908-E7B8-4580-8944-248D69A9AEC8}" type="sibTrans" cxnId="{775BBD6C-E545-4E3F-94C9-E7D6DF26F007}">
      <dgm:prSet/>
      <dgm:spPr/>
      <dgm:t>
        <a:bodyPr/>
        <a:lstStyle/>
        <a:p>
          <a:endParaRPr lang="en-US"/>
        </a:p>
      </dgm:t>
    </dgm:pt>
    <dgm:pt modelId="{D18059BA-0E46-45DB-B84C-71F7FE884631}">
      <dgm:prSet phldrT="[Text]"/>
      <dgm:spPr/>
      <dgm:t>
        <a:bodyPr/>
        <a:lstStyle/>
        <a:p>
          <a:r>
            <a:rPr lang="en-US" b="0" i="0" u="none" dirty="0" smtClean="0"/>
            <a:t>UX Expert</a:t>
          </a:r>
          <a:endParaRPr lang="en-US" dirty="0"/>
        </a:p>
      </dgm:t>
    </dgm:pt>
    <dgm:pt modelId="{563862C6-A02B-4F59-A432-E96CCA22F474}" type="parTrans" cxnId="{2D224930-6E90-4519-B72C-D05F8DB97D87}">
      <dgm:prSet/>
      <dgm:spPr/>
      <dgm:t>
        <a:bodyPr/>
        <a:lstStyle/>
        <a:p>
          <a:endParaRPr lang="en-US"/>
        </a:p>
      </dgm:t>
    </dgm:pt>
    <dgm:pt modelId="{C0841A37-3C7A-4FC6-B4C3-7E3B424ADFEE}" type="sibTrans" cxnId="{2D224930-6E90-4519-B72C-D05F8DB97D87}">
      <dgm:prSet/>
      <dgm:spPr/>
      <dgm:t>
        <a:bodyPr/>
        <a:lstStyle/>
        <a:p>
          <a:endParaRPr lang="en-US"/>
        </a:p>
      </dgm:t>
    </dgm:pt>
    <dgm:pt modelId="{68E488E5-4815-4925-96EA-B45DD1F862C3}">
      <dgm:prSet phldrT="[Text]"/>
      <dgm:spPr/>
      <dgm:t>
        <a:bodyPr/>
        <a:lstStyle/>
        <a:p>
          <a:r>
            <a:rPr lang="en-US" dirty="0" smtClean="0"/>
            <a:t>QA Engineer</a:t>
          </a:r>
          <a:endParaRPr lang="en-US" dirty="0"/>
        </a:p>
      </dgm:t>
    </dgm:pt>
    <dgm:pt modelId="{DBC5B146-8A47-4070-B370-C75D852CE168}" type="parTrans" cxnId="{12124564-FE41-4B31-B2E8-F2F801A126EC}">
      <dgm:prSet/>
      <dgm:spPr/>
      <dgm:t>
        <a:bodyPr/>
        <a:lstStyle/>
        <a:p>
          <a:endParaRPr lang="en-US"/>
        </a:p>
      </dgm:t>
    </dgm:pt>
    <dgm:pt modelId="{37E4D726-3024-4122-8213-40897802AAF7}" type="sibTrans" cxnId="{12124564-FE41-4B31-B2E8-F2F801A126EC}">
      <dgm:prSet/>
      <dgm:spPr/>
      <dgm:t>
        <a:bodyPr/>
        <a:lstStyle/>
        <a:p>
          <a:endParaRPr lang="en-US"/>
        </a:p>
      </dgm:t>
    </dgm:pt>
    <dgm:pt modelId="{05757FA4-B28E-4312-9DCC-0BAACD783A5E}">
      <dgm:prSet phldrT="[Text]"/>
      <dgm:spPr/>
      <dgm:t>
        <a:bodyPr/>
        <a:lstStyle/>
        <a:p>
          <a:r>
            <a:rPr lang="en-US" dirty="0" smtClean="0"/>
            <a:t>BI Developer</a:t>
          </a:r>
          <a:endParaRPr lang="en-US" dirty="0"/>
        </a:p>
      </dgm:t>
    </dgm:pt>
    <dgm:pt modelId="{CE2E3A81-7C4C-4B40-857C-5B7606364FFA}" type="parTrans" cxnId="{A085133E-6F70-47C5-9F9A-2935EB89780C}">
      <dgm:prSet/>
      <dgm:spPr/>
      <dgm:t>
        <a:bodyPr/>
        <a:lstStyle/>
        <a:p>
          <a:endParaRPr lang="en-US"/>
        </a:p>
      </dgm:t>
    </dgm:pt>
    <dgm:pt modelId="{7C07E6A2-8DA3-4870-B292-D26FF3DF6B0E}" type="sibTrans" cxnId="{A085133E-6F70-47C5-9F9A-2935EB89780C}">
      <dgm:prSet/>
      <dgm:spPr/>
      <dgm:t>
        <a:bodyPr/>
        <a:lstStyle/>
        <a:p>
          <a:endParaRPr lang="en-US"/>
        </a:p>
      </dgm:t>
    </dgm:pt>
    <dgm:pt modelId="{A3994200-43C5-423C-B160-F4A5430BEA5F}">
      <dgm:prSet phldrT="[Text]"/>
      <dgm:spPr/>
      <dgm:t>
        <a:bodyPr/>
        <a:lstStyle/>
        <a:p>
          <a:r>
            <a:rPr lang="en-US" b="0" i="0" u="none" dirty="0" smtClean="0"/>
            <a:t>ETL Developer</a:t>
          </a:r>
          <a:endParaRPr lang="en-US" dirty="0"/>
        </a:p>
      </dgm:t>
    </dgm:pt>
    <dgm:pt modelId="{C58647F7-5DC0-466F-B6E6-C05173D7F459}" type="parTrans" cxnId="{64DFDE7A-BC21-432E-B8A6-7E85090E1AE5}">
      <dgm:prSet/>
      <dgm:spPr/>
      <dgm:t>
        <a:bodyPr/>
        <a:lstStyle/>
        <a:p>
          <a:endParaRPr lang="en-US"/>
        </a:p>
      </dgm:t>
    </dgm:pt>
    <dgm:pt modelId="{77BF737A-70CD-4538-B27E-54421EC3C368}" type="sibTrans" cxnId="{64DFDE7A-BC21-432E-B8A6-7E85090E1AE5}">
      <dgm:prSet/>
      <dgm:spPr/>
      <dgm:t>
        <a:bodyPr/>
        <a:lstStyle/>
        <a:p>
          <a:endParaRPr lang="en-US"/>
        </a:p>
      </dgm:t>
    </dgm:pt>
    <dgm:pt modelId="{6EB3FBAE-D29D-46D3-89AB-E18A87C556B9}">
      <dgm:prSet phldrT="[Text]" custT="1"/>
      <dgm:spPr/>
      <dgm:t>
        <a:bodyPr/>
        <a:lstStyle/>
        <a:p>
          <a:r>
            <a:rPr lang="en-US" sz="1600" dirty="0" smtClean="0"/>
            <a:t>Data Modeler</a:t>
          </a:r>
          <a:endParaRPr lang="en-US" sz="1600" dirty="0"/>
        </a:p>
      </dgm:t>
    </dgm:pt>
    <dgm:pt modelId="{89C83499-93B2-44BE-B4DA-D847FE4A4BFC}" type="parTrans" cxnId="{1EAB34A1-5641-4F5C-AFD0-FB2F804194CD}">
      <dgm:prSet/>
      <dgm:spPr/>
      <dgm:t>
        <a:bodyPr/>
        <a:lstStyle/>
        <a:p>
          <a:endParaRPr lang="en-US"/>
        </a:p>
      </dgm:t>
    </dgm:pt>
    <dgm:pt modelId="{216C730C-2603-4861-8D3A-ED728C3B052A}" type="sibTrans" cxnId="{1EAB34A1-5641-4F5C-AFD0-FB2F804194CD}">
      <dgm:prSet/>
      <dgm:spPr/>
      <dgm:t>
        <a:bodyPr/>
        <a:lstStyle/>
        <a:p>
          <a:endParaRPr lang="en-US"/>
        </a:p>
      </dgm:t>
    </dgm:pt>
    <dgm:pt modelId="{EDFBD063-3FE8-42EA-BB4D-81006E604B59}">
      <dgm:prSet phldrT="[Text]"/>
      <dgm:spPr/>
      <dgm:t>
        <a:bodyPr/>
        <a:lstStyle/>
        <a:p>
          <a:r>
            <a:rPr lang="en-US" dirty="0" smtClean="0"/>
            <a:t>DBA</a:t>
          </a:r>
          <a:endParaRPr lang="en-US" dirty="0"/>
        </a:p>
      </dgm:t>
    </dgm:pt>
    <dgm:pt modelId="{F5B7248B-19E7-4DA9-9D35-8F928284522A}" type="parTrans" cxnId="{67439722-423E-4C23-B9CF-1BE24D365647}">
      <dgm:prSet/>
      <dgm:spPr/>
      <dgm:t>
        <a:bodyPr/>
        <a:lstStyle/>
        <a:p>
          <a:endParaRPr lang="en-US"/>
        </a:p>
      </dgm:t>
    </dgm:pt>
    <dgm:pt modelId="{9E3812BF-1CC0-4037-A085-778E24353164}" type="sibTrans" cxnId="{67439722-423E-4C23-B9CF-1BE24D365647}">
      <dgm:prSet/>
      <dgm:spPr/>
      <dgm:t>
        <a:bodyPr/>
        <a:lstStyle/>
        <a:p>
          <a:endParaRPr lang="en-US"/>
        </a:p>
      </dgm:t>
    </dgm:pt>
    <dgm:pt modelId="{90272C21-2326-4925-A913-343F278BA7B0}" type="pres">
      <dgm:prSet presAssocID="{AEAAF971-DB48-4711-BC20-40C656AF480D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93CEF452-23EC-4800-B19B-19F1C07065FF}" type="pres">
      <dgm:prSet presAssocID="{C1D35012-E7E4-4859-A3F0-25CBD2D11916}" presName="vertOne" presStyleCnt="0"/>
      <dgm:spPr/>
    </dgm:pt>
    <dgm:pt modelId="{EDB5045C-AACA-4DE1-9525-A42668023B34}" type="pres">
      <dgm:prSet presAssocID="{C1D35012-E7E4-4859-A3F0-25CBD2D11916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84A3B9C-D55C-4DB3-BDA2-0C79868B2662}" type="pres">
      <dgm:prSet presAssocID="{C1D35012-E7E4-4859-A3F0-25CBD2D11916}" presName="parTransOne" presStyleCnt="0"/>
      <dgm:spPr/>
    </dgm:pt>
    <dgm:pt modelId="{D86FE6BA-0D47-4D56-BD9D-1A268C6C447E}" type="pres">
      <dgm:prSet presAssocID="{C1D35012-E7E4-4859-A3F0-25CBD2D11916}" presName="horzOne" presStyleCnt="0"/>
      <dgm:spPr/>
    </dgm:pt>
    <dgm:pt modelId="{BC40EE6B-F480-4FB9-BB04-0C506BFB2F6C}" type="pres">
      <dgm:prSet presAssocID="{0A60195C-C89F-4FE1-80FF-C412B0455AD1}" presName="vertTwo" presStyleCnt="0"/>
      <dgm:spPr/>
    </dgm:pt>
    <dgm:pt modelId="{B1138DF9-C2E4-420E-9E75-596992671785}" type="pres">
      <dgm:prSet presAssocID="{0A60195C-C89F-4FE1-80FF-C412B0455AD1}" presName="txTwo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02E7F43-4468-4FAA-9BA7-6AE516AD90D8}" type="pres">
      <dgm:prSet presAssocID="{0A60195C-C89F-4FE1-80FF-C412B0455AD1}" presName="horzTwo" presStyleCnt="0"/>
      <dgm:spPr/>
    </dgm:pt>
    <dgm:pt modelId="{F28B3063-F57D-48B1-98DA-BBB29FA977B8}" type="pres">
      <dgm:prSet presAssocID="{843E50D1-A78D-4884-9C7A-D8156FE6EA88}" presName="sibSpaceTwo" presStyleCnt="0"/>
      <dgm:spPr/>
    </dgm:pt>
    <dgm:pt modelId="{2FA6AB9D-4838-4D32-A2D4-E7BE61B38422}" type="pres">
      <dgm:prSet presAssocID="{0170112C-A1CD-46D3-8717-D9DA0A61F087}" presName="vertTwo" presStyleCnt="0"/>
      <dgm:spPr/>
    </dgm:pt>
    <dgm:pt modelId="{B2883A50-DE0C-4F1A-B3FF-DBE7EC7412F4}" type="pres">
      <dgm:prSet presAssocID="{0170112C-A1CD-46D3-8717-D9DA0A61F087}" presName="txTwo" presStyleLbl="node2" presStyleIdx="1" presStyleCnt="4" custScaleX="11329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AC4CD85-78BB-4173-9865-0E4E65DC42F7}" type="pres">
      <dgm:prSet presAssocID="{0170112C-A1CD-46D3-8717-D9DA0A61F087}" presName="parTransTwo" presStyleCnt="0"/>
      <dgm:spPr/>
    </dgm:pt>
    <dgm:pt modelId="{E5F97CD4-F544-44A4-A972-531274B0EF1D}" type="pres">
      <dgm:prSet presAssocID="{0170112C-A1CD-46D3-8717-D9DA0A61F087}" presName="horzTwo" presStyleCnt="0"/>
      <dgm:spPr/>
    </dgm:pt>
    <dgm:pt modelId="{8B5FB23C-443B-4D1C-926B-EC095E4E49B2}" type="pres">
      <dgm:prSet presAssocID="{6EB3FBAE-D29D-46D3-89AB-E18A87C556B9}" presName="vertThree" presStyleCnt="0"/>
      <dgm:spPr/>
    </dgm:pt>
    <dgm:pt modelId="{8286E984-BFD9-4D1B-88E8-7D1950B68125}" type="pres">
      <dgm:prSet presAssocID="{6EB3FBAE-D29D-46D3-89AB-E18A87C556B9}" presName="txThree" presStyleLbl="node3" presStyleIdx="0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4E94F1E-DA90-45D8-8450-E593EFE93A03}" type="pres">
      <dgm:prSet presAssocID="{6EB3FBAE-D29D-46D3-89AB-E18A87C556B9}" presName="horzThree" presStyleCnt="0"/>
      <dgm:spPr/>
    </dgm:pt>
    <dgm:pt modelId="{564FE66D-400B-49BD-9968-2559C48F327B}" type="pres">
      <dgm:prSet presAssocID="{C75D6714-0B1C-46BE-B5E5-B0D761B40A68}" presName="sibSpaceTwo" presStyleCnt="0"/>
      <dgm:spPr/>
    </dgm:pt>
    <dgm:pt modelId="{B9C64DFF-C2B4-438C-BD19-0D3C73636E31}" type="pres">
      <dgm:prSet presAssocID="{E7913655-DA13-4D87-BCED-9A36DAB95ECB}" presName="vertTwo" presStyleCnt="0"/>
      <dgm:spPr/>
    </dgm:pt>
    <dgm:pt modelId="{AC536893-BD10-48BA-A609-B49FFC1B83FB}" type="pres">
      <dgm:prSet presAssocID="{E7913655-DA13-4D87-BCED-9A36DAB95ECB}" presName="txTwo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CF03B50-6331-41C5-AE66-8A67D72354D8}" type="pres">
      <dgm:prSet presAssocID="{E7913655-DA13-4D87-BCED-9A36DAB95ECB}" presName="parTransTwo" presStyleCnt="0"/>
      <dgm:spPr/>
    </dgm:pt>
    <dgm:pt modelId="{D21D2EE1-0418-4244-B22E-5F14965602C6}" type="pres">
      <dgm:prSet presAssocID="{E7913655-DA13-4D87-BCED-9A36DAB95ECB}" presName="horzTwo" presStyleCnt="0"/>
      <dgm:spPr/>
    </dgm:pt>
    <dgm:pt modelId="{7B60599E-5A0E-4032-A583-A8CA685E6FB2}" type="pres">
      <dgm:prSet presAssocID="{68E488E5-4815-4925-96EA-B45DD1F862C3}" presName="vertThree" presStyleCnt="0"/>
      <dgm:spPr/>
    </dgm:pt>
    <dgm:pt modelId="{7CAC1C98-C4EF-449D-BE9A-BEB19E11A300}" type="pres">
      <dgm:prSet presAssocID="{68E488E5-4815-4925-96EA-B45DD1F862C3}" presName="txThree" presStyleLbl="node3" presStyleIdx="1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351355C-EB7F-4A99-AAD9-51425CC4BAB0}" type="pres">
      <dgm:prSet presAssocID="{68E488E5-4815-4925-96EA-B45DD1F862C3}" presName="horzThree" presStyleCnt="0"/>
      <dgm:spPr/>
    </dgm:pt>
    <dgm:pt modelId="{A345F0F6-E826-45E4-934B-94673E961B88}" type="pres">
      <dgm:prSet presAssocID="{37E4D726-3024-4122-8213-40897802AAF7}" presName="sibSpaceThree" presStyleCnt="0"/>
      <dgm:spPr/>
    </dgm:pt>
    <dgm:pt modelId="{7A53CB7F-B9AF-4A65-AE03-DE05A81C23E3}" type="pres">
      <dgm:prSet presAssocID="{05757FA4-B28E-4312-9DCC-0BAACD783A5E}" presName="vertThree" presStyleCnt="0"/>
      <dgm:spPr/>
    </dgm:pt>
    <dgm:pt modelId="{0087ED63-48AB-49A5-84A1-EEFF1CFACB30}" type="pres">
      <dgm:prSet presAssocID="{05757FA4-B28E-4312-9DCC-0BAACD783A5E}" presName="txThree" presStyleLbl="node3" presStyleIdx="2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ACE834A-A062-4BAD-90BF-1EED081426BA}" type="pres">
      <dgm:prSet presAssocID="{05757FA4-B28E-4312-9DCC-0BAACD783A5E}" presName="horzThree" presStyleCnt="0"/>
      <dgm:spPr/>
    </dgm:pt>
    <dgm:pt modelId="{3E172DB6-3EFF-4B7B-BE86-7D85E4D64AB1}" type="pres">
      <dgm:prSet presAssocID="{7C07E6A2-8DA3-4870-B292-D26FF3DF6B0E}" presName="sibSpaceThree" presStyleCnt="0"/>
      <dgm:spPr/>
    </dgm:pt>
    <dgm:pt modelId="{D1F11E4D-3F4E-4B73-BC76-17C371A26FC5}" type="pres">
      <dgm:prSet presAssocID="{A3994200-43C5-423C-B160-F4A5430BEA5F}" presName="vertThree" presStyleCnt="0"/>
      <dgm:spPr/>
    </dgm:pt>
    <dgm:pt modelId="{3324C3F2-1132-47DA-8E52-1928B1166664}" type="pres">
      <dgm:prSet presAssocID="{A3994200-43C5-423C-B160-F4A5430BEA5F}" presName="txThree" presStyleLbl="node3" presStyleIdx="3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EAD6334-602D-4CE5-8D53-34C17ED8B8F6}" type="pres">
      <dgm:prSet presAssocID="{A3994200-43C5-423C-B160-F4A5430BEA5F}" presName="horzThree" presStyleCnt="0"/>
      <dgm:spPr/>
    </dgm:pt>
    <dgm:pt modelId="{22638C59-3DAC-4B5B-AB58-2DCAFDADFAAB}" type="pres">
      <dgm:prSet presAssocID="{77BF737A-70CD-4538-B27E-54421EC3C368}" presName="sibSpaceThree" presStyleCnt="0"/>
      <dgm:spPr/>
    </dgm:pt>
    <dgm:pt modelId="{357F48C2-5BD2-4575-A798-768E44BC4532}" type="pres">
      <dgm:prSet presAssocID="{EDFBD063-3FE8-42EA-BB4D-81006E604B59}" presName="vertThree" presStyleCnt="0"/>
      <dgm:spPr/>
    </dgm:pt>
    <dgm:pt modelId="{9B7B1AAD-2A48-48FD-B8D3-9DD0AEECF72A}" type="pres">
      <dgm:prSet presAssocID="{EDFBD063-3FE8-42EA-BB4D-81006E604B59}" presName="txThree" presStyleLbl="node3" presStyleIdx="4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C73C52E-4A02-405B-93D3-32CCB490E509}" type="pres">
      <dgm:prSet presAssocID="{EDFBD063-3FE8-42EA-BB4D-81006E604B59}" presName="horzThree" presStyleCnt="0"/>
      <dgm:spPr/>
    </dgm:pt>
    <dgm:pt modelId="{CDDA1BEF-FF2B-40E4-8668-2067E68249F6}" type="pres">
      <dgm:prSet presAssocID="{27F90908-E7B8-4580-8944-248D69A9AEC8}" presName="sibSpaceTwo" presStyleCnt="0"/>
      <dgm:spPr/>
    </dgm:pt>
    <dgm:pt modelId="{FA9D1B66-2C03-4451-8706-7B8E337F3ACC}" type="pres">
      <dgm:prSet presAssocID="{D18059BA-0E46-45DB-B84C-71F7FE884631}" presName="vertTwo" presStyleCnt="0"/>
      <dgm:spPr/>
    </dgm:pt>
    <dgm:pt modelId="{3013A8D8-59B7-4F0F-A617-A1B9E5065208}" type="pres">
      <dgm:prSet presAssocID="{D18059BA-0E46-45DB-B84C-71F7FE884631}" presName="txTwo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E96E383-C22B-486E-A208-C99021C6BDE6}" type="pres">
      <dgm:prSet presAssocID="{D18059BA-0E46-45DB-B84C-71F7FE884631}" presName="horzTwo" presStyleCnt="0"/>
      <dgm:spPr/>
    </dgm:pt>
  </dgm:ptLst>
  <dgm:cxnLst>
    <dgm:cxn modelId="{775BBD6C-E545-4E3F-94C9-E7D6DF26F007}" srcId="{C1D35012-E7E4-4859-A3F0-25CBD2D11916}" destId="{E7913655-DA13-4D87-BCED-9A36DAB95ECB}" srcOrd="2" destOrd="0" parTransId="{63B3805E-529A-4578-B193-B55F34DC1A88}" sibTransId="{27F90908-E7B8-4580-8944-248D69A9AEC8}"/>
    <dgm:cxn modelId="{FC5E31B5-7824-44AA-BDF4-A0409DC31FE3}" type="presOf" srcId="{C1D35012-E7E4-4859-A3F0-25CBD2D11916}" destId="{EDB5045C-AACA-4DE1-9525-A42668023B34}" srcOrd="0" destOrd="0" presId="urn:microsoft.com/office/officeart/2005/8/layout/hierarchy4"/>
    <dgm:cxn modelId="{08C7D8EB-FE6D-4744-B558-B040EC772320}" srcId="{C1D35012-E7E4-4859-A3F0-25CBD2D11916}" destId="{0A60195C-C89F-4FE1-80FF-C412B0455AD1}" srcOrd="0" destOrd="0" parTransId="{A6C5D001-2913-47FA-A5A3-8352FC9144F8}" sibTransId="{843E50D1-A78D-4884-9C7A-D8156FE6EA88}"/>
    <dgm:cxn modelId="{2D224930-6E90-4519-B72C-D05F8DB97D87}" srcId="{C1D35012-E7E4-4859-A3F0-25CBD2D11916}" destId="{D18059BA-0E46-45DB-B84C-71F7FE884631}" srcOrd="3" destOrd="0" parTransId="{563862C6-A02B-4F59-A432-E96CCA22F474}" sibTransId="{C0841A37-3C7A-4FC6-B4C3-7E3B424ADFEE}"/>
    <dgm:cxn modelId="{317664B3-BE7D-4F34-8414-C8756983EB4C}" type="presOf" srcId="{0A60195C-C89F-4FE1-80FF-C412B0455AD1}" destId="{B1138DF9-C2E4-420E-9E75-596992671785}" srcOrd="0" destOrd="0" presId="urn:microsoft.com/office/officeart/2005/8/layout/hierarchy4"/>
    <dgm:cxn modelId="{766393BC-ACF3-4D50-87D3-3552D4EEF19E}" type="presOf" srcId="{D18059BA-0E46-45DB-B84C-71F7FE884631}" destId="{3013A8D8-59B7-4F0F-A617-A1B9E5065208}" srcOrd="0" destOrd="0" presId="urn:microsoft.com/office/officeart/2005/8/layout/hierarchy4"/>
    <dgm:cxn modelId="{77BE903A-02CC-4BA2-A382-6867337EBF0B}" type="presOf" srcId="{AEAAF971-DB48-4711-BC20-40C656AF480D}" destId="{90272C21-2326-4925-A913-343F278BA7B0}" srcOrd="0" destOrd="0" presId="urn:microsoft.com/office/officeart/2005/8/layout/hierarchy4"/>
    <dgm:cxn modelId="{64DFDE7A-BC21-432E-B8A6-7E85090E1AE5}" srcId="{E7913655-DA13-4D87-BCED-9A36DAB95ECB}" destId="{A3994200-43C5-423C-B160-F4A5430BEA5F}" srcOrd="2" destOrd="0" parTransId="{C58647F7-5DC0-466F-B6E6-C05173D7F459}" sibTransId="{77BF737A-70CD-4538-B27E-54421EC3C368}"/>
    <dgm:cxn modelId="{70AF8FCD-F1AC-4164-A08A-B59F5FBE5226}" type="presOf" srcId="{05757FA4-B28E-4312-9DCC-0BAACD783A5E}" destId="{0087ED63-48AB-49A5-84A1-EEFF1CFACB30}" srcOrd="0" destOrd="0" presId="urn:microsoft.com/office/officeart/2005/8/layout/hierarchy4"/>
    <dgm:cxn modelId="{2FDCFC53-A75F-413D-B335-414F1FBE6F10}" type="presOf" srcId="{0170112C-A1CD-46D3-8717-D9DA0A61F087}" destId="{B2883A50-DE0C-4F1A-B3FF-DBE7EC7412F4}" srcOrd="0" destOrd="0" presId="urn:microsoft.com/office/officeart/2005/8/layout/hierarchy4"/>
    <dgm:cxn modelId="{1EAB34A1-5641-4F5C-AFD0-FB2F804194CD}" srcId="{0170112C-A1CD-46D3-8717-D9DA0A61F087}" destId="{6EB3FBAE-D29D-46D3-89AB-E18A87C556B9}" srcOrd="0" destOrd="0" parTransId="{89C83499-93B2-44BE-B4DA-D847FE4A4BFC}" sibTransId="{216C730C-2603-4861-8D3A-ED728C3B052A}"/>
    <dgm:cxn modelId="{F3332069-EF04-4C6E-AF06-BA088427D842}" type="presOf" srcId="{6EB3FBAE-D29D-46D3-89AB-E18A87C556B9}" destId="{8286E984-BFD9-4D1B-88E8-7D1950B68125}" srcOrd="0" destOrd="0" presId="urn:microsoft.com/office/officeart/2005/8/layout/hierarchy4"/>
    <dgm:cxn modelId="{12124564-FE41-4B31-B2E8-F2F801A126EC}" srcId="{E7913655-DA13-4D87-BCED-9A36DAB95ECB}" destId="{68E488E5-4815-4925-96EA-B45DD1F862C3}" srcOrd="0" destOrd="0" parTransId="{DBC5B146-8A47-4070-B370-C75D852CE168}" sibTransId="{37E4D726-3024-4122-8213-40897802AAF7}"/>
    <dgm:cxn modelId="{A085133E-6F70-47C5-9F9A-2935EB89780C}" srcId="{E7913655-DA13-4D87-BCED-9A36DAB95ECB}" destId="{05757FA4-B28E-4312-9DCC-0BAACD783A5E}" srcOrd="1" destOrd="0" parTransId="{CE2E3A81-7C4C-4B40-857C-5B7606364FFA}" sibTransId="{7C07E6A2-8DA3-4870-B292-D26FF3DF6B0E}"/>
    <dgm:cxn modelId="{EC2002AE-E2C2-4928-8C3F-6EFB44F8BFB5}" type="presOf" srcId="{E7913655-DA13-4D87-BCED-9A36DAB95ECB}" destId="{AC536893-BD10-48BA-A609-B49FFC1B83FB}" srcOrd="0" destOrd="0" presId="urn:microsoft.com/office/officeart/2005/8/layout/hierarchy4"/>
    <dgm:cxn modelId="{ADEF97D4-B161-4449-BA82-5F86638FCB74}" type="presOf" srcId="{EDFBD063-3FE8-42EA-BB4D-81006E604B59}" destId="{9B7B1AAD-2A48-48FD-B8D3-9DD0AEECF72A}" srcOrd="0" destOrd="0" presId="urn:microsoft.com/office/officeart/2005/8/layout/hierarchy4"/>
    <dgm:cxn modelId="{45D881A0-E82C-4A22-9997-614A308BDB8C}" type="presOf" srcId="{68E488E5-4815-4925-96EA-B45DD1F862C3}" destId="{7CAC1C98-C4EF-449D-BE9A-BEB19E11A300}" srcOrd="0" destOrd="0" presId="urn:microsoft.com/office/officeart/2005/8/layout/hierarchy4"/>
    <dgm:cxn modelId="{67439722-423E-4C23-B9CF-1BE24D365647}" srcId="{E7913655-DA13-4D87-BCED-9A36DAB95ECB}" destId="{EDFBD063-3FE8-42EA-BB4D-81006E604B59}" srcOrd="3" destOrd="0" parTransId="{F5B7248B-19E7-4DA9-9D35-8F928284522A}" sibTransId="{9E3812BF-1CC0-4037-A085-778E24353164}"/>
    <dgm:cxn modelId="{CA0BD212-6751-457E-A3DD-39826464FAFD}" srcId="{C1D35012-E7E4-4859-A3F0-25CBD2D11916}" destId="{0170112C-A1CD-46D3-8717-D9DA0A61F087}" srcOrd="1" destOrd="0" parTransId="{A16E5CE6-A081-4D91-8F31-9BDF6FB5D613}" sibTransId="{C75D6714-0B1C-46BE-B5E5-B0D761B40A68}"/>
    <dgm:cxn modelId="{9BA0C31F-76E2-4FA4-AB63-031157535F9F}" type="presOf" srcId="{A3994200-43C5-423C-B160-F4A5430BEA5F}" destId="{3324C3F2-1132-47DA-8E52-1928B1166664}" srcOrd="0" destOrd="0" presId="urn:microsoft.com/office/officeart/2005/8/layout/hierarchy4"/>
    <dgm:cxn modelId="{D0C9FB6D-5607-43B8-8990-D13DE1DA4F0D}" srcId="{AEAAF971-DB48-4711-BC20-40C656AF480D}" destId="{C1D35012-E7E4-4859-A3F0-25CBD2D11916}" srcOrd="0" destOrd="0" parTransId="{78646A57-9086-4DEC-9FCD-70BEF8E93BFE}" sibTransId="{FF251637-E129-484D-951F-BE8C4E11746C}"/>
    <dgm:cxn modelId="{4E32FA8B-F31B-4CEF-A58A-6FCA1D8896D0}" type="presParOf" srcId="{90272C21-2326-4925-A913-343F278BA7B0}" destId="{93CEF452-23EC-4800-B19B-19F1C07065FF}" srcOrd="0" destOrd="0" presId="urn:microsoft.com/office/officeart/2005/8/layout/hierarchy4"/>
    <dgm:cxn modelId="{3422545B-7447-4392-8ED0-79CC1CB32219}" type="presParOf" srcId="{93CEF452-23EC-4800-B19B-19F1C07065FF}" destId="{EDB5045C-AACA-4DE1-9525-A42668023B34}" srcOrd="0" destOrd="0" presId="urn:microsoft.com/office/officeart/2005/8/layout/hierarchy4"/>
    <dgm:cxn modelId="{A0C6E495-B432-41D0-9A06-B6961298B4CE}" type="presParOf" srcId="{93CEF452-23EC-4800-B19B-19F1C07065FF}" destId="{184A3B9C-D55C-4DB3-BDA2-0C79868B2662}" srcOrd="1" destOrd="0" presId="urn:microsoft.com/office/officeart/2005/8/layout/hierarchy4"/>
    <dgm:cxn modelId="{16A521A3-4A39-4D8A-B0E5-D22DFD9E4027}" type="presParOf" srcId="{93CEF452-23EC-4800-B19B-19F1C07065FF}" destId="{D86FE6BA-0D47-4D56-BD9D-1A268C6C447E}" srcOrd="2" destOrd="0" presId="urn:microsoft.com/office/officeart/2005/8/layout/hierarchy4"/>
    <dgm:cxn modelId="{AD092476-3BDA-456A-91B8-F448379853BF}" type="presParOf" srcId="{D86FE6BA-0D47-4D56-BD9D-1A268C6C447E}" destId="{BC40EE6B-F480-4FB9-BB04-0C506BFB2F6C}" srcOrd="0" destOrd="0" presId="urn:microsoft.com/office/officeart/2005/8/layout/hierarchy4"/>
    <dgm:cxn modelId="{1463E6A3-44A2-4250-AC8C-722BA640F16F}" type="presParOf" srcId="{BC40EE6B-F480-4FB9-BB04-0C506BFB2F6C}" destId="{B1138DF9-C2E4-420E-9E75-596992671785}" srcOrd="0" destOrd="0" presId="urn:microsoft.com/office/officeart/2005/8/layout/hierarchy4"/>
    <dgm:cxn modelId="{7DFA04A7-2758-4A00-95C3-9FB5CD282B13}" type="presParOf" srcId="{BC40EE6B-F480-4FB9-BB04-0C506BFB2F6C}" destId="{802E7F43-4468-4FAA-9BA7-6AE516AD90D8}" srcOrd="1" destOrd="0" presId="urn:microsoft.com/office/officeart/2005/8/layout/hierarchy4"/>
    <dgm:cxn modelId="{32227F12-D620-4EBC-B410-B0F620B1D4D3}" type="presParOf" srcId="{D86FE6BA-0D47-4D56-BD9D-1A268C6C447E}" destId="{F28B3063-F57D-48B1-98DA-BBB29FA977B8}" srcOrd="1" destOrd="0" presId="urn:microsoft.com/office/officeart/2005/8/layout/hierarchy4"/>
    <dgm:cxn modelId="{42FDFF82-6A54-4B01-A8C5-D9C9505066EE}" type="presParOf" srcId="{D86FE6BA-0D47-4D56-BD9D-1A268C6C447E}" destId="{2FA6AB9D-4838-4D32-A2D4-E7BE61B38422}" srcOrd="2" destOrd="0" presId="urn:microsoft.com/office/officeart/2005/8/layout/hierarchy4"/>
    <dgm:cxn modelId="{8C24D336-C197-4A4C-929D-68A5F7CC5DAA}" type="presParOf" srcId="{2FA6AB9D-4838-4D32-A2D4-E7BE61B38422}" destId="{B2883A50-DE0C-4F1A-B3FF-DBE7EC7412F4}" srcOrd="0" destOrd="0" presId="urn:microsoft.com/office/officeart/2005/8/layout/hierarchy4"/>
    <dgm:cxn modelId="{5EB883FE-5530-40B9-80D8-0E474E1F65DD}" type="presParOf" srcId="{2FA6AB9D-4838-4D32-A2D4-E7BE61B38422}" destId="{6AC4CD85-78BB-4173-9865-0E4E65DC42F7}" srcOrd="1" destOrd="0" presId="urn:microsoft.com/office/officeart/2005/8/layout/hierarchy4"/>
    <dgm:cxn modelId="{6A9402EF-EB95-4E3B-8F11-0842A2B7B93E}" type="presParOf" srcId="{2FA6AB9D-4838-4D32-A2D4-E7BE61B38422}" destId="{E5F97CD4-F544-44A4-A972-531274B0EF1D}" srcOrd="2" destOrd="0" presId="urn:microsoft.com/office/officeart/2005/8/layout/hierarchy4"/>
    <dgm:cxn modelId="{932507BC-91F5-4B46-9E87-CF78E75B0935}" type="presParOf" srcId="{E5F97CD4-F544-44A4-A972-531274B0EF1D}" destId="{8B5FB23C-443B-4D1C-926B-EC095E4E49B2}" srcOrd="0" destOrd="0" presId="urn:microsoft.com/office/officeart/2005/8/layout/hierarchy4"/>
    <dgm:cxn modelId="{75C18B46-C84D-4385-867C-92BD32FC8E97}" type="presParOf" srcId="{8B5FB23C-443B-4D1C-926B-EC095E4E49B2}" destId="{8286E984-BFD9-4D1B-88E8-7D1950B68125}" srcOrd="0" destOrd="0" presId="urn:microsoft.com/office/officeart/2005/8/layout/hierarchy4"/>
    <dgm:cxn modelId="{8BC5E301-6115-4365-89E1-F3CD94BF51AD}" type="presParOf" srcId="{8B5FB23C-443B-4D1C-926B-EC095E4E49B2}" destId="{74E94F1E-DA90-45D8-8450-E593EFE93A03}" srcOrd="1" destOrd="0" presId="urn:microsoft.com/office/officeart/2005/8/layout/hierarchy4"/>
    <dgm:cxn modelId="{74DCA66A-2335-4189-B352-CAD4F3E3941C}" type="presParOf" srcId="{D86FE6BA-0D47-4D56-BD9D-1A268C6C447E}" destId="{564FE66D-400B-49BD-9968-2559C48F327B}" srcOrd="3" destOrd="0" presId="urn:microsoft.com/office/officeart/2005/8/layout/hierarchy4"/>
    <dgm:cxn modelId="{B5467988-0C13-47AC-A5A5-9A9FEA00C2AA}" type="presParOf" srcId="{D86FE6BA-0D47-4D56-BD9D-1A268C6C447E}" destId="{B9C64DFF-C2B4-438C-BD19-0D3C73636E31}" srcOrd="4" destOrd="0" presId="urn:microsoft.com/office/officeart/2005/8/layout/hierarchy4"/>
    <dgm:cxn modelId="{73B4A5ED-5E40-48F6-A3F2-9CED9F7FD26C}" type="presParOf" srcId="{B9C64DFF-C2B4-438C-BD19-0D3C73636E31}" destId="{AC536893-BD10-48BA-A609-B49FFC1B83FB}" srcOrd="0" destOrd="0" presId="urn:microsoft.com/office/officeart/2005/8/layout/hierarchy4"/>
    <dgm:cxn modelId="{E3AD87F9-8ACA-4F17-9A63-2765A66D2F3F}" type="presParOf" srcId="{B9C64DFF-C2B4-438C-BD19-0D3C73636E31}" destId="{2CF03B50-6331-41C5-AE66-8A67D72354D8}" srcOrd="1" destOrd="0" presId="urn:microsoft.com/office/officeart/2005/8/layout/hierarchy4"/>
    <dgm:cxn modelId="{8780A7C5-8AB3-465A-8F2F-17FB498F2464}" type="presParOf" srcId="{B9C64DFF-C2B4-438C-BD19-0D3C73636E31}" destId="{D21D2EE1-0418-4244-B22E-5F14965602C6}" srcOrd="2" destOrd="0" presId="urn:microsoft.com/office/officeart/2005/8/layout/hierarchy4"/>
    <dgm:cxn modelId="{56BB5848-5DB9-42A2-BD04-BA52EB4D83E5}" type="presParOf" srcId="{D21D2EE1-0418-4244-B22E-5F14965602C6}" destId="{7B60599E-5A0E-4032-A583-A8CA685E6FB2}" srcOrd="0" destOrd="0" presId="urn:microsoft.com/office/officeart/2005/8/layout/hierarchy4"/>
    <dgm:cxn modelId="{865503E0-DC9D-409B-B45C-4F5559988F70}" type="presParOf" srcId="{7B60599E-5A0E-4032-A583-A8CA685E6FB2}" destId="{7CAC1C98-C4EF-449D-BE9A-BEB19E11A300}" srcOrd="0" destOrd="0" presId="urn:microsoft.com/office/officeart/2005/8/layout/hierarchy4"/>
    <dgm:cxn modelId="{E21F6417-F5A8-4278-A2F1-CBF8630C520E}" type="presParOf" srcId="{7B60599E-5A0E-4032-A583-A8CA685E6FB2}" destId="{8351355C-EB7F-4A99-AAD9-51425CC4BAB0}" srcOrd="1" destOrd="0" presId="urn:microsoft.com/office/officeart/2005/8/layout/hierarchy4"/>
    <dgm:cxn modelId="{74CF376B-4540-4370-9232-466DC34C158A}" type="presParOf" srcId="{D21D2EE1-0418-4244-B22E-5F14965602C6}" destId="{A345F0F6-E826-45E4-934B-94673E961B88}" srcOrd="1" destOrd="0" presId="urn:microsoft.com/office/officeart/2005/8/layout/hierarchy4"/>
    <dgm:cxn modelId="{DDC68567-A34C-43A1-82A4-8D16DD4393B9}" type="presParOf" srcId="{D21D2EE1-0418-4244-B22E-5F14965602C6}" destId="{7A53CB7F-B9AF-4A65-AE03-DE05A81C23E3}" srcOrd="2" destOrd="0" presId="urn:microsoft.com/office/officeart/2005/8/layout/hierarchy4"/>
    <dgm:cxn modelId="{70F4E99E-F303-46A1-9040-7DBAA2F1B61D}" type="presParOf" srcId="{7A53CB7F-B9AF-4A65-AE03-DE05A81C23E3}" destId="{0087ED63-48AB-49A5-84A1-EEFF1CFACB30}" srcOrd="0" destOrd="0" presId="urn:microsoft.com/office/officeart/2005/8/layout/hierarchy4"/>
    <dgm:cxn modelId="{8AFE3BD1-F1CA-46B6-91AE-87B631EFC7F2}" type="presParOf" srcId="{7A53CB7F-B9AF-4A65-AE03-DE05A81C23E3}" destId="{AACE834A-A062-4BAD-90BF-1EED081426BA}" srcOrd="1" destOrd="0" presId="urn:microsoft.com/office/officeart/2005/8/layout/hierarchy4"/>
    <dgm:cxn modelId="{00632678-FD63-44EC-AF34-CA1D020CCDAF}" type="presParOf" srcId="{D21D2EE1-0418-4244-B22E-5F14965602C6}" destId="{3E172DB6-3EFF-4B7B-BE86-7D85E4D64AB1}" srcOrd="3" destOrd="0" presId="urn:microsoft.com/office/officeart/2005/8/layout/hierarchy4"/>
    <dgm:cxn modelId="{8AB162C4-9A31-4206-9412-77321248C875}" type="presParOf" srcId="{D21D2EE1-0418-4244-B22E-5F14965602C6}" destId="{D1F11E4D-3F4E-4B73-BC76-17C371A26FC5}" srcOrd="4" destOrd="0" presId="urn:microsoft.com/office/officeart/2005/8/layout/hierarchy4"/>
    <dgm:cxn modelId="{3E31E92A-EBAB-4FE7-ADA1-D51089DFCF92}" type="presParOf" srcId="{D1F11E4D-3F4E-4B73-BC76-17C371A26FC5}" destId="{3324C3F2-1132-47DA-8E52-1928B1166664}" srcOrd="0" destOrd="0" presId="urn:microsoft.com/office/officeart/2005/8/layout/hierarchy4"/>
    <dgm:cxn modelId="{A39A95DD-F6A9-4936-88CF-923BD246DF48}" type="presParOf" srcId="{D1F11E4D-3F4E-4B73-BC76-17C371A26FC5}" destId="{3EAD6334-602D-4CE5-8D53-34C17ED8B8F6}" srcOrd="1" destOrd="0" presId="urn:microsoft.com/office/officeart/2005/8/layout/hierarchy4"/>
    <dgm:cxn modelId="{6FA27FA8-B1F2-4142-A654-7B34F253189A}" type="presParOf" srcId="{D21D2EE1-0418-4244-B22E-5F14965602C6}" destId="{22638C59-3DAC-4B5B-AB58-2DCAFDADFAAB}" srcOrd="5" destOrd="0" presId="urn:microsoft.com/office/officeart/2005/8/layout/hierarchy4"/>
    <dgm:cxn modelId="{04B5C269-DA38-43EF-8227-C4F44E8168E6}" type="presParOf" srcId="{D21D2EE1-0418-4244-B22E-5F14965602C6}" destId="{357F48C2-5BD2-4575-A798-768E44BC4532}" srcOrd="6" destOrd="0" presId="urn:microsoft.com/office/officeart/2005/8/layout/hierarchy4"/>
    <dgm:cxn modelId="{85193DB7-8619-48BB-B048-59EAD43D6DBD}" type="presParOf" srcId="{357F48C2-5BD2-4575-A798-768E44BC4532}" destId="{9B7B1AAD-2A48-48FD-B8D3-9DD0AEECF72A}" srcOrd="0" destOrd="0" presId="urn:microsoft.com/office/officeart/2005/8/layout/hierarchy4"/>
    <dgm:cxn modelId="{8732E9B1-9DDE-464C-9B8B-7432A76D16D2}" type="presParOf" srcId="{357F48C2-5BD2-4575-A798-768E44BC4532}" destId="{BC73C52E-4A02-405B-93D3-32CCB490E509}" srcOrd="1" destOrd="0" presId="urn:microsoft.com/office/officeart/2005/8/layout/hierarchy4"/>
    <dgm:cxn modelId="{F47DAB2F-B250-4357-9516-674E802FB264}" type="presParOf" srcId="{D86FE6BA-0D47-4D56-BD9D-1A268C6C447E}" destId="{CDDA1BEF-FF2B-40E4-8668-2067E68249F6}" srcOrd="5" destOrd="0" presId="urn:microsoft.com/office/officeart/2005/8/layout/hierarchy4"/>
    <dgm:cxn modelId="{87FAA6E0-9A58-435A-A85C-DB5A84992E25}" type="presParOf" srcId="{D86FE6BA-0D47-4D56-BD9D-1A268C6C447E}" destId="{FA9D1B66-2C03-4451-8706-7B8E337F3ACC}" srcOrd="6" destOrd="0" presId="urn:microsoft.com/office/officeart/2005/8/layout/hierarchy4"/>
    <dgm:cxn modelId="{81339931-F1D6-43A7-B22C-F0DBA1E3802F}" type="presParOf" srcId="{FA9D1B66-2C03-4451-8706-7B8E337F3ACC}" destId="{3013A8D8-59B7-4F0F-A617-A1B9E5065208}" srcOrd="0" destOrd="0" presId="urn:microsoft.com/office/officeart/2005/8/layout/hierarchy4"/>
    <dgm:cxn modelId="{6711FA4F-762F-47DC-9CE1-0EAD8945BDF6}" type="presParOf" srcId="{FA9D1B66-2C03-4451-8706-7B8E337F3ACC}" destId="{3E96E383-C22B-486E-A208-C99021C6BDE6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F4C6626-2F09-4309-8382-1781E2BEAC54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rtl="1"/>
          <a:endParaRPr lang="he-IL"/>
        </a:p>
      </dgm:t>
    </dgm:pt>
    <dgm:pt modelId="{42A551AE-9B07-4735-8639-5891BBE2F869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pPr rtl="1"/>
          <a:r>
            <a:rPr lang="en-US" dirty="0" smtClean="0"/>
            <a:t>HL Scope, design &amp; Architecture</a:t>
          </a:r>
          <a:endParaRPr lang="he-IL" dirty="0"/>
        </a:p>
      </dgm:t>
    </dgm:pt>
    <dgm:pt modelId="{44A7C9F3-5EC1-4953-92AB-7AE011DC1EF5}" type="parTrans" cxnId="{ADE0E47D-8C80-4E70-BFF3-D4BE0F0CEF4B}">
      <dgm:prSet/>
      <dgm:spPr/>
      <dgm:t>
        <a:bodyPr/>
        <a:lstStyle/>
        <a:p>
          <a:pPr rtl="1"/>
          <a:endParaRPr lang="he-IL"/>
        </a:p>
      </dgm:t>
    </dgm:pt>
    <dgm:pt modelId="{91BB24F6-059B-41EC-B725-D7682F8F7307}" type="sibTrans" cxnId="{ADE0E47D-8C80-4E70-BFF3-D4BE0F0CEF4B}">
      <dgm:prSet/>
      <dgm:spPr/>
      <dgm:t>
        <a:bodyPr/>
        <a:lstStyle/>
        <a:p>
          <a:pPr rtl="1"/>
          <a:endParaRPr lang="he-IL"/>
        </a:p>
      </dgm:t>
    </dgm:pt>
    <dgm:pt modelId="{6E642CF4-C90A-4F3F-94AF-9B764B2AC577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pPr rtl="1"/>
          <a:r>
            <a:rPr lang="en-US" dirty="0" smtClean="0"/>
            <a:t>Development</a:t>
          </a:r>
          <a:endParaRPr lang="he-IL" dirty="0"/>
        </a:p>
      </dgm:t>
    </dgm:pt>
    <dgm:pt modelId="{9861B3EF-2DBE-42A4-98F8-72211041F476}" type="parTrans" cxnId="{656980E1-E2CC-4FD3-8D0B-8350EF84F350}">
      <dgm:prSet/>
      <dgm:spPr/>
      <dgm:t>
        <a:bodyPr/>
        <a:lstStyle/>
        <a:p>
          <a:pPr rtl="1"/>
          <a:endParaRPr lang="he-IL"/>
        </a:p>
      </dgm:t>
    </dgm:pt>
    <dgm:pt modelId="{D7723960-A69B-4240-9A2E-9E0F4828B450}" type="sibTrans" cxnId="{656980E1-E2CC-4FD3-8D0B-8350EF84F350}">
      <dgm:prSet/>
      <dgm:spPr/>
      <dgm:t>
        <a:bodyPr/>
        <a:lstStyle/>
        <a:p>
          <a:pPr rtl="1"/>
          <a:endParaRPr lang="he-IL"/>
        </a:p>
      </dgm:t>
    </dgm:pt>
    <dgm:pt modelId="{0ECD1C14-56B9-4E40-9123-F85DA874555A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pPr rtl="1"/>
          <a:r>
            <a:rPr lang="en-US" dirty="0" smtClean="0"/>
            <a:t>Testing</a:t>
          </a:r>
          <a:endParaRPr lang="he-IL" dirty="0"/>
        </a:p>
      </dgm:t>
    </dgm:pt>
    <dgm:pt modelId="{C09A9DD7-F3B8-416F-BA3B-8CFF6BFC755C}" type="parTrans" cxnId="{15C75036-D6D7-4E1E-8DC7-1AAB86068E1A}">
      <dgm:prSet/>
      <dgm:spPr/>
      <dgm:t>
        <a:bodyPr/>
        <a:lstStyle/>
        <a:p>
          <a:pPr rtl="1"/>
          <a:endParaRPr lang="he-IL"/>
        </a:p>
      </dgm:t>
    </dgm:pt>
    <dgm:pt modelId="{DF012F71-974D-463A-B83B-C7BB9A18D7DF}" type="sibTrans" cxnId="{15C75036-D6D7-4E1E-8DC7-1AAB86068E1A}">
      <dgm:prSet/>
      <dgm:spPr/>
      <dgm:t>
        <a:bodyPr/>
        <a:lstStyle/>
        <a:p>
          <a:pPr rtl="1"/>
          <a:endParaRPr lang="he-IL"/>
        </a:p>
      </dgm:t>
    </dgm:pt>
    <dgm:pt modelId="{7C197EF3-DFCD-43FB-868B-6AC4911396F9}">
      <dgm:prSet/>
      <dgm:spPr>
        <a:solidFill>
          <a:schemeClr val="bg1">
            <a:lumMod val="50000"/>
          </a:schemeClr>
        </a:solidFill>
      </dgm:spPr>
      <dgm:t>
        <a:bodyPr/>
        <a:lstStyle/>
        <a:p>
          <a:pPr rtl="1"/>
          <a:r>
            <a:rPr lang="en-US" dirty="0" smtClean="0"/>
            <a:t>Release</a:t>
          </a:r>
          <a:endParaRPr lang="he-IL" dirty="0"/>
        </a:p>
      </dgm:t>
    </dgm:pt>
    <dgm:pt modelId="{300C0768-966C-40CD-8686-8D9B91221EEE}" type="parTrans" cxnId="{BBCA6E78-7CE0-4975-B00C-FD3E1B70DCD3}">
      <dgm:prSet/>
      <dgm:spPr/>
      <dgm:t>
        <a:bodyPr/>
        <a:lstStyle/>
        <a:p>
          <a:pPr rtl="1"/>
          <a:endParaRPr lang="he-IL"/>
        </a:p>
      </dgm:t>
    </dgm:pt>
    <dgm:pt modelId="{D909BD5E-0441-4B47-B2B5-D5652960CCB7}" type="sibTrans" cxnId="{BBCA6E78-7CE0-4975-B00C-FD3E1B70DCD3}">
      <dgm:prSet/>
      <dgm:spPr/>
      <dgm:t>
        <a:bodyPr/>
        <a:lstStyle/>
        <a:p>
          <a:pPr rtl="1"/>
          <a:endParaRPr lang="he-IL"/>
        </a:p>
      </dgm:t>
    </dgm:pt>
    <dgm:pt modelId="{D7096094-0DEA-49A2-A484-BC2865C043D6}" type="pres">
      <dgm:prSet presAssocID="{4F4C6626-2F09-4309-8382-1781E2BEAC54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pPr rtl="1"/>
          <a:endParaRPr lang="he-IL"/>
        </a:p>
      </dgm:t>
    </dgm:pt>
    <dgm:pt modelId="{845D8EC8-8BF5-403E-A7B5-0DBCE029EEC2}" type="pres">
      <dgm:prSet presAssocID="{42A551AE-9B07-4735-8639-5891BBE2F869}" presName="composite" presStyleCnt="0"/>
      <dgm:spPr/>
    </dgm:pt>
    <dgm:pt modelId="{9B0F0725-C5D2-49E2-ADE8-759ED42C2B48}" type="pres">
      <dgm:prSet presAssocID="{42A551AE-9B07-4735-8639-5891BBE2F869}" presName="bentUpArrow1" presStyleLbl="alignImgPlace1" presStyleIdx="0" presStyleCnt="3"/>
      <dgm:spPr>
        <a:solidFill>
          <a:srgbClr val="443D67"/>
        </a:solidFill>
      </dgm:spPr>
      <dgm:t>
        <a:bodyPr/>
        <a:lstStyle/>
        <a:p>
          <a:pPr rtl="1"/>
          <a:endParaRPr lang="he-IL"/>
        </a:p>
      </dgm:t>
    </dgm:pt>
    <dgm:pt modelId="{8F91F2E3-4824-4804-AEBA-52D3DCE4E9BC}" type="pres">
      <dgm:prSet presAssocID="{42A551AE-9B07-4735-8639-5891BBE2F869}" presName="ParentText" presStyleLbl="node1" presStyleIdx="0" presStyleCnt="4" custLinFactNeighborX="169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9CE511AE-94A4-4F2C-8B83-DEFA35DD7E82}" type="pres">
      <dgm:prSet presAssocID="{42A551AE-9B07-4735-8639-5891BBE2F869}" presName="Child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1543495A-3F38-4023-9479-1A7E9655F37A}" type="pres">
      <dgm:prSet presAssocID="{91BB24F6-059B-41EC-B725-D7682F8F7307}" presName="sibTrans" presStyleCnt="0"/>
      <dgm:spPr/>
    </dgm:pt>
    <dgm:pt modelId="{4A3082B0-0730-445B-A019-818300995E21}" type="pres">
      <dgm:prSet presAssocID="{6E642CF4-C90A-4F3F-94AF-9B764B2AC577}" presName="composite" presStyleCnt="0"/>
      <dgm:spPr/>
    </dgm:pt>
    <dgm:pt modelId="{6725A5DA-5246-468E-87F9-F6E845A4ED0D}" type="pres">
      <dgm:prSet presAssocID="{6E642CF4-C90A-4F3F-94AF-9B764B2AC577}" presName="bentUpArrow1" presStyleLbl="alignImgPlace1" presStyleIdx="1" presStyleCnt="3" custLinFactNeighborX="14952" custLinFactNeighborY="2755"/>
      <dgm:spPr>
        <a:solidFill>
          <a:srgbClr val="ED1933"/>
        </a:solidFill>
      </dgm:spPr>
      <dgm:t>
        <a:bodyPr/>
        <a:lstStyle/>
        <a:p>
          <a:pPr rtl="1"/>
          <a:endParaRPr lang="he-IL"/>
        </a:p>
      </dgm:t>
    </dgm:pt>
    <dgm:pt modelId="{9C15EDBA-1AA3-47FC-B189-CA9235F6AD10}" type="pres">
      <dgm:prSet presAssocID="{6E642CF4-C90A-4F3F-94AF-9B764B2AC577}" presName="ParentText" presStyleLbl="node1" presStyleIdx="1" presStyleCnt="4" custLinFactNeighborX="-3247" custLinFactNeighborY="2672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80125342-9733-4E0E-AC2F-E00909F3A55D}" type="pres">
      <dgm:prSet presAssocID="{6E642CF4-C90A-4F3F-94AF-9B764B2AC577}" presName="ChildText" presStyleLbl="revTx" presStyleIdx="1" presStyleCnt="3" custLinFactNeighborX="1275" custLinFactNeighborY="773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B185374C-B5AC-4CC1-A271-27032F3F3E9F}" type="pres">
      <dgm:prSet presAssocID="{D7723960-A69B-4240-9A2E-9E0F4828B450}" presName="sibTrans" presStyleCnt="0"/>
      <dgm:spPr/>
    </dgm:pt>
    <dgm:pt modelId="{6D7F8DE4-09A4-4C5F-82F2-73DCF03387E0}" type="pres">
      <dgm:prSet presAssocID="{0ECD1C14-56B9-4E40-9123-F85DA874555A}" presName="composite" presStyleCnt="0"/>
      <dgm:spPr/>
    </dgm:pt>
    <dgm:pt modelId="{02EAA241-53B7-421D-8A0C-4B981FDF6264}" type="pres">
      <dgm:prSet presAssocID="{0ECD1C14-56B9-4E40-9123-F85DA874555A}" presName="bentUpArrow1" presStyleLbl="alignImgPlace1" presStyleIdx="2" presStyleCnt="3"/>
      <dgm:spPr>
        <a:solidFill>
          <a:srgbClr val="443D67"/>
        </a:solidFill>
      </dgm:spPr>
      <dgm:t>
        <a:bodyPr/>
        <a:lstStyle/>
        <a:p>
          <a:pPr rtl="1"/>
          <a:endParaRPr lang="he-IL"/>
        </a:p>
      </dgm:t>
    </dgm:pt>
    <dgm:pt modelId="{5508C895-7A1B-4F72-A5D9-D62B4D34D750}" type="pres">
      <dgm:prSet presAssocID="{0ECD1C14-56B9-4E40-9123-F85DA874555A}" presName="ParentText" presStyleLbl="node1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6E595C6F-641A-4481-BE5B-B592190C6B24}" type="pres">
      <dgm:prSet presAssocID="{0ECD1C14-56B9-4E40-9123-F85DA874555A}" presName="ChildText" presStyleLbl="revTx" presStyleIdx="2" presStyleCnt="3" custScaleX="392683" custLinFactY="-28744" custLinFactNeighborX="-22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D6C3282B-93B6-4337-A1E9-3FD81582A046}" type="pres">
      <dgm:prSet presAssocID="{DF012F71-974D-463A-B83B-C7BB9A18D7DF}" presName="sibTrans" presStyleCnt="0"/>
      <dgm:spPr/>
    </dgm:pt>
    <dgm:pt modelId="{09C4E078-28CB-4151-91DA-51666924ACAB}" type="pres">
      <dgm:prSet presAssocID="{7C197EF3-DFCD-43FB-868B-6AC4911396F9}" presName="composite" presStyleCnt="0"/>
      <dgm:spPr/>
    </dgm:pt>
    <dgm:pt modelId="{6727300E-AD63-4F9D-B594-1392D2D76FF0}" type="pres">
      <dgm:prSet presAssocID="{7C197EF3-DFCD-43FB-868B-6AC4911396F9}" presName="ParentText" presStyleLbl="node1" presStyleIdx="3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</dgm:ptLst>
  <dgm:cxnLst>
    <dgm:cxn modelId="{F4843319-4637-4A90-845D-078C31CB15F3}" type="presOf" srcId="{0ECD1C14-56B9-4E40-9123-F85DA874555A}" destId="{5508C895-7A1B-4F72-A5D9-D62B4D34D750}" srcOrd="0" destOrd="0" presId="urn:microsoft.com/office/officeart/2005/8/layout/StepDownProcess"/>
    <dgm:cxn modelId="{9009F411-AAF9-4028-8B60-CA083DEEFECF}" type="presOf" srcId="{42A551AE-9B07-4735-8639-5891BBE2F869}" destId="{8F91F2E3-4824-4804-AEBA-52D3DCE4E9BC}" srcOrd="0" destOrd="0" presId="urn:microsoft.com/office/officeart/2005/8/layout/StepDownProcess"/>
    <dgm:cxn modelId="{15C75036-D6D7-4E1E-8DC7-1AAB86068E1A}" srcId="{4F4C6626-2F09-4309-8382-1781E2BEAC54}" destId="{0ECD1C14-56B9-4E40-9123-F85DA874555A}" srcOrd="2" destOrd="0" parTransId="{C09A9DD7-F3B8-416F-BA3B-8CFF6BFC755C}" sibTransId="{DF012F71-974D-463A-B83B-C7BB9A18D7DF}"/>
    <dgm:cxn modelId="{D9A9C90B-9101-4E80-805E-B4538AF9020C}" type="presOf" srcId="{4F4C6626-2F09-4309-8382-1781E2BEAC54}" destId="{D7096094-0DEA-49A2-A484-BC2865C043D6}" srcOrd="0" destOrd="0" presId="urn:microsoft.com/office/officeart/2005/8/layout/StepDownProcess"/>
    <dgm:cxn modelId="{656980E1-E2CC-4FD3-8D0B-8350EF84F350}" srcId="{4F4C6626-2F09-4309-8382-1781E2BEAC54}" destId="{6E642CF4-C90A-4F3F-94AF-9B764B2AC577}" srcOrd="1" destOrd="0" parTransId="{9861B3EF-2DBE-42A4-98F8-72211041F476}" sibTransId="{D7723960-A69B-4240-9A2E-9E0F4828B450}"/>
    <dgm:cxn modelId="{78FE448C-2D0C-4C5F-A9DA-6BCC488FCAEC}" type="presOf" srcId="{7C197EF3-DFCD-43FB-868B-6AC4911396F9}" destId="{6727300E-AD63-4F9D-B594-1392D2D76FF0}" srcOrd="0" destOrd="0" presId="urn:microsoft.com/office/officeart/2005/8/layout/StepDownProcess"/>
    <dgm:cxn modelId="{BBCA6E78-7CE0-4975-B00C-FD3E1B70DCD3}" srcId="{4F4C6626-2F09-4309-8382-1781E2BEAC54}" destId="{7C197EF3-DFCD-43FB-868B-6AC4911396F9}" srcOrd="3" destOrd="0" parTransId="{300C0768-966C-40CD-8686-8D9B91221EEE}" sibTransId="{D909BD5E-0441-4B47-B2B5-D5652960CCB7}"/>
    <dgm:cxn modelId="{44BB4108-F961-47A1-806D-6521950376B7}" type="presOf" srcId="{6E642CF4-C90A-4F3F-94AF-9B764B2AC577}" destId="{9C15EDBA-1AA3-47FC-B189-CA9235F6AD10}" srcOrd="0" destOrd="0" presId="urn:microsoft.com/office/officeart/2005/8/layout/StepDownProcess"/>
    <dgm:cxn modelId="{ADE0E47D-8C80-4E70-BFF3-D4BE0F0CEF4B}" srcId="{4F4C6626-2F09-4309-8382-1781E2BEAC54}" destId="{42A551AE-9B07-4735-8639-5891BBE2F869}" srcOrd="0" destOrd="0" parTransId="{44A7C9F3-5EC1-4953-92AB-7AE011DC1EF5}" sibTransId="{91BB24F6-059B-41EC-B725-D7682F8F7307}"/>
    <dgm:cxn modelId="{DDE2DCF5-A459-48D7-B93D-21850523D0F1}" type="presParOf" srcId="{D7096094-0DEA-49A2-A484-BC2865C043D6}" destId="{845D8EC8-8BF5-403E-A7B5-0DBCE029EEC2}" srcOrd="0" destOrd="0" presId="urn:microsoft.com/office/officeart/2005/8/layout/StepDownProcess"/>
    <dgm:cxn modelId="{1BB2A313-C41D-4634-9B00-786D877B9CC4}" type="presParOf" srcId="{845D8EC8-8BF5-403E-A7B5-0DBCE029EEC2}" destId="{9B0F0725-C5D2-49E2-ADE8-759ED42C2B48}" srcOrd="0" destOrd="0" presId="urn:microsoft.com/office/officeart/2005/8/layout/StepDownProcess"/>
    <dgm:cxn modelId="{A6B9856D-1482-41AB-BA3A-C9DDF85FFAF8}" type="presParOf" srcId="{845D8EC8-8BF5-403E-A7B5-0DBCE029EEC2}" destId="{8F91F2E3-4824-4804-AEBA-52D3DCE4E9BC}" srcOrd="1" destOrd="0" presId="urn:microsoft.com/office/officeart/2005/8/layout/StepDownProcess"/>
    <dgm:cxn modelId="{48D5F5F0-BAC6-422A-B104-7901A0843BF6}" type="presParOf" srcId="{845D8EC8-8BF5-403E-A7B5-0DBCE029EEC2}" destId="{9CE511AE-94A4-4F2C-8B83-DEFA35DD7E82}" srcOrd="2" destOrd="0" presId="urn:microsoft.com/office/officeart/2005/8/layout/StepDownProcess"/>
    <dgm:cxn modelId="{8A01C17F-E656-4C23-9FDD-6A325A026ACF}" type="presParOf" srcId="{D7096094-0DEA-49A2-A484-BC2865C043D6}" destId="{1543495A-3F38-4023-9479-1A7E9655F37A}" srcOrd="1" destOrd="0" presId="urn:microsoft.com/office/officeart/2005/8/layout/StepDownProcess"/>
    <dgm:cxn modelId="{5B7DAC62-BDC5-4F18-A4FC-C14DFD7E0623}" type="presParOf" srcId="{D7096094-0DEA-49A2-A484-BC2865C043D6}" destId="{4A3082B0-0730-445B-A019-818300995E21}" srcOrd="2" destOrd="0" presId="urn:microsoft.com/office/officeart/2005/8/layout/StepDownProcess"/>
    <dgm:cxn modelId="{9DBD6C97-C2FB-404F-9AA7-AE2EB47A2478}" type="presParOf" srcId="{4A3082B0-0730-445B-A019-818300995E21}" destId="{6725A5DA-5246-468E-87F9-F6E845A4ED0D}" srcOrd="0" destOrd="0" presId="urn:microsoft.com/office/officeart/2005/8/layout/StepDownProcess"/>
    <dgm:cxn modelId="{C7CA6083-88C1-4DE6-AFB5-76A1018DB28D}" type="presParOf" srcId="{4A3082B0-0730-445B-A019-818300995E21}" destId="{9C15EDBA-1AA3-47FC-B189-CA9235F6AD10}" srcOrd="1" destOrd="0" presId="urn:microsoft.com/office/officeart/2005/8/layout/StepDownProcess"/>
    <dgm:cxn modelId="{2F4260A9-F1C4-47A8-896A-73944819B384}" type="presParOf" srcId="{4A3082B0-0730-445B-A019-818300995E21}" destId="{80125342-9733-4E0E-AC2F-E00909F3A55D}" srcOrd="2" destOrd="0" presId="urn:microsoft.com/office/officeart/2005/8/layout/StepDownProcess"/>
    <dgm:cxn modelId="{14D5E42E-35EF-4B66-9A63-9F99471D52C5}" type="presParOf" srcId="{D7096094-0DEA-49A2-A484-BC2865C043D6}" destId="{B185374C-B5AC-4CC1-A271-27032F3F3E9F}" srcOrd="3" destOrd="0" presId="urn:microsoft.com/office/officeart/2005/8/layout/StepDownProcess"/>
    <dgm:cxn modelId="{70F91A4B-B6C9-4434-A70A-C21B3CD134A0}" type="presParOf" srcId="{D7096094-0DEA-49A2-A484-BC2865C043D6}" destId="{6D7F8DE4-09A4-4C5F-82F2-73DCF03387E0}" srcOrd="4" destOrd="0" presId="urn:microsoft.com/office/officeart/2005/8/layout/StepDownProcess"/>
    <dgm:cxn modelId="{13F2D556-CC29-4463-874A-DE59CF29D2B9}" type="presParOf" srcId="{6D7F8DE4-09A4-4C5F-82F2-73DCF03387E0}" destId="{02EAA241-53B7-421D-8A0C-4B981FDF6264}" srcOrd="0" destOrd="0" presId="urn:microsoft.com/office/officeart/2005/8/layout/StepDownProcess"/>
    <dgm:cxn modelId="{61CC7B15-834F-4E9E-B269-968AB5ADD412}" type="presParOf" srcId="{6D7F8DE4-09A4-4C5F-82F2-73DCF03387E0}" destId="{5508C895-7A1B-4F72-A5D9-D62B4D34D750}" srcOrd="1" destOrd="0" presId="urn:microsoft.com/office/officeart/2005/8/layout/StepDownProcess"/>
    <dgm:cxn modelId="{2DD64CE6-B7A9-49DC-9C69-BB39D5277DB2}" type="presParOf" srcId="{6D7F8DE4-09A4-4C5F-82F2-73DCF03387E0}" destId="{6E595C6F-641A-4481-BE5B-B592190C6B24}" srcOrd="2" destOrd="0" presId="urn:microsoft.com/office/officeart/2005/8/layout/StepDownProcess"/>
    <dgm:cxn modelId="{F010B6A3-53D7-4B95-AA4A-5F18C32D7946}" type="presParOf" srcId="{D7096094-0DEA-49A2-A484-BC2865C043D6}" destId="{D6C3282B-93B6-4337-A1E9-3FD81582A046}" srcOrd="5" destOrd="0" presId="urn:microsoft.com/office/officeart/2005/8/layout/StepDownProcess"/>
    <dgm:cxn modelId="{5C7DA799-0A20-4CAF-84B8-8F8245E1941B}" type="presParOf" srcId="{D7096094-0DEA-49A2-A484-BC2865C043D6}" destId="{09C4E078-28CB-4151-91DA-51666924ACAB}" srcOrd="6" destOrd="0" presId="urn:microsoft.com/office/officeart/2005/8/layout/StepDownProcess"/>
    <dgm:cxn modelId="{3D49D409-ABB6-44D3-BA0D-453DD83614BB}" type="presParOf" srcId="{09C4E078-28CB-4151-91DA-51666924ACAB}" destId="{6727300E-AD63-4F9D-B594-1392D2D76FF0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C57667C-4448-452E-981C-34242A1A2151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792BB6D3-25AC-48E2-9615-453B866F0F95}">
      <dgm:prSet phldrT="[Text]" custT="1"/>
      <dgm:spPr>
        <a:solidFill>
          <a:srgbClr val="ED1933"/>
        </a:solidFill>
      </dgm:spPr>
      <dgm:t>
        <a:bodyPr/>
        <a:lstStyle/>
        <a:p>
          <a:pPr rtl="1"/>
          <a:endParaRPr lang="en-US" sz="1800" dirty="0" smtClean="0">
            <a:solidFill>
              <a:srgbClr val="FFFFFF"/>
            </a:solidFill>
          </a:endParaRPr>
        </a:p>
        <a:p>
          <a:pPr rtl="1"/>
          <a:endParaRPr lang="en-US" sz="1800" dirty="0" smtClean="0">
            <a:solidFill>
              <a:srgbClr val="FFFFFF"/>
            </a:solidFill>
          </a:endParaRPr>
        </a:p>
        <a:p>
          <a:pPr rtl="1"/>
          <a:r>
            <a:rPr lang="en-US" sz="1800" dirty="0" smtClean="0">
              <a:solidFill>
                <a:srgbClr val="FFFFFF"/>
              </a:solidFill>
            </a:rPr>
            <a:t>Users</a:t>
          </a:r>
        </a:p>
        <a:p>
          <a:pPr rtl="1"/>
          <a:r>
            <a:rPr lang="en-US" sz="1800" dirty="0" smtClean="0">
              <a:solidFill>
                <a:srgbClr val="FFFFFF"/>
              </a:solidFill>
            </a:rPr>
            <a:t>Need</a:t>
          </a:r>
          <a:endParaRPr lang="he-IL" sz="1800" dirty="0">
            <a:solidFill>
              <a:srgbClr val="FFFFFF"/>
            </a:solidFill>
          </a:endParaRPr>
        </a:p>
      </dgm:t>
    </dgm:pt>
    <dgm:pt modelId="{48CF8013-4699-4430-B7A3-C41F0B3ADF59}" type="parTrans" cxnId="{4EA9C4F2-8438-4EA9-B849-CACC4C64414C}">
      <dgm:prSet/>
      <dgm:spPr/>
      <dgm:t>
        <a:bodyPr/>
        <a:lstStyle/>
        <a:p>
          <a:pPr rtl="1"/>
          <a:endParaRPr lang="he-IL">
            <a:solidFill>
              <a:schemeClr val="bg1"/>
            </a:solidFill>
          </a:endParaRPr>
        </a:p>
      </dgm:t>
    </dgm:pt>
    <dgm:pt modelId="{6098556C-0163-47DD-BD28-FE66CD158723}" type="sibTrans" cxnId="{4EA9C4F2-8438-4EA9-B849-CACC4C64414C}">
      <dgm:prSet/>
      <dgm:spPr/>
      <dgm:t>
        <a:bodyPr/>
        <a:lstStyle/>
        <a:p>
          <a:pPr rtl="1"/>
          <a:endParaRPr lang="he-IL">
            <a:solidFill>
              <a:schemeClr val="bg1"/>
            </a:solidFill>
          </a:endParaRPr>
        </a:p>
      </dgm:t>
    </dgm:pt>
    <dgm:pt modelId="{EE50804A-D224-406B-9538-1F41F599BBA4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pPr rtl="1"/>
          <a:r>
            <a:rPr lang="en-US" sz="1800" dirty="0" smtClean="0">
              <a:solidFill>
                <a:srgbClr val="FFFFFF"/>
              </a:solidFill>
            </a:rPr>
            <a:t>Map data in different sources</a:t>
          </a:r>
          <a:endParaRPr lang="he-IL" sz="1800" dirty="0">
            <a:solidFill>
              <a:srgbClr val="FFFFFF"/>
            </a:solidFill>
          </a:endParaRPr>
        </a:p>
      </dgm:t>
    </dgm:pt>
    <dgm:pt modelId="{20CF8B69-AC30-4BDD-A8C0-44DA0485EE3D}" type="parTrans" cxnId="{D808D075-B2C8-4858-964D-5104E1F03388}">
      <dgm:prSet/>
      <dgm:spPr/>
      <dgm:t>
        <a:bodyPr/>
        <a:lstStyle/>
        <a:p>
          <a:pPr rtl="1"/>
          <a:endParaRPr lang="he-IL">
            <a:solidFill>
              <a:schemeClr val="bg1"/>
            </a:solidFill>
          </a:endParaRPr>
        </a:p>
      </dgm:t>
    </dgm:pt>
    <dgm:pt modelId="{88CEF127-0E6B-4EB1-93F6-216468E3340F}" type="sibTrans" cxnId="{D808D075-B2C8-4858-964D-5104E1F03388}">
      <dgm:prSet/>
      <dgm:spPr/>
      <dgm:t>
        <a:bodyPr/>
        <a:lstStyle/>
        <a:p>
          <a:pPr rtl="1"/>
          <a:endParaRPr lang="he-IL">
            <a:solidFill>
              <a:schemeClr val="bg1"/>
            </a:solidFill>
          </a:endParaRPr>
        </a:p>
      </dgm:t>
    </dgm:pt>
    <dgm:pt modelId="{ADD954BE-4D21-41FD-B070-C0CB3467E50C}">
      <dgm:prSet phldrT="[Text]" custT="1"/>
      <dgm:spPr>
        <a:solidFill>
          <a:srgbClr val="464646"/>
        </a:solidFill>
      </dgm:spPr>
      <dgm:t>
        <a:bodyPr/>
        <a:lstStyle/>
        <a:p>
          <a:pPr rtl="1"/>
          <a:r>
            <a:rPr lang="en-US" sz="1800" dirty="0" smtClean="0">
              <a:solidFill>
                <a:srgbClr val="FFFFFF"/>
              </a:solidFill>
            </a:rPr>
            <a:t>Construction of the Datawarehouse</a:t>
          </a:r>
          <a:endParaRPr lang="he-IL" sz="1800" dirty="0">
            <a:solidFill>
              <a:srgbClr val="FFFFFF"/>
            </a:solidFill>
          </a:endParaRPr>
        </a:p>
      </dgm:t>
    </dgm:pt>
    <dgm:pt modelId="{4C141220-D3C8-4BA1-A3AE-8C949927A3DE}" type="parTrans" cxnId="{6340F990-FFF3-400A-9026-BA3C8FEFE8E3}">
      <dgm:prSet/>
      <dgm:spPr/>
      <dgm:t>
        <a:bodyPr/>
        <a:lstStyle/>
        <a:p>
          <a:pPr rtl="1"/>
          <a:endParaRPr lang="he-IL">
            <a:solidFill>
              <a:schemeClr val="bg1"/>
            </a:solidFill>
          </a:endParaRPr>
        </a:p>
      </dgm:t>
    </dgm:pt>
    <dgm:pt modelId="{1DBE0D33-DBBC-40E2-B144-1A76F9BFB59B}" type="sibTrans" cxnId="{6340F990-FFF3-400A-9026-BA3C8FEFE8E3}">
      <dgm:prSet/>
      <dgm:spPr/>
      <dgm:t>
        <a:bodyPr/>
        <a:lstStyle/>
        <a:p>
          <a:pPr rtl="1"/>
          <a:endParaRPr lang="he-IL">
            <a:solidFill>
              <a:schemeClr val="bg1"/>
            </a:solidFill>
          </a:endParaRPr>
        </a:p>
      </dgm:t>
    </dgm:pt>
    <dgm:pt modelId="{E49A9738-04A8-45EB-8E18-A5047AB93EF7}" type="pres">
      <dgm:prSet presAssocID="{7C57667C-4448-452E-981C-34242A1A2151}" presName="Name0" presStyleCnt="0">
        <dgm:presLayoutVars>
          <dgm:dir/>
          <dgm:animLvl val="lvl"/>
          <dgm:resizeHandles val="exact"/>
        </dgm:presLayoutVars>
      </dgm:prSet>
      <dgm:spPr/>
    </dgm:pt>
    <dgm:pt modelId="{4C285486-D8B6-4117-A73A-6CBD9874D120}" type="pres">
      <dgm:prSet presAssocID="{792BB6D3-25AC-48E2-9615-453B866F0F95}" presName="Name8" presStyleCnt="0"/>
      <dgm:spPr/>
    </dgm:pt>
    <dgm:pt modelId="{F0D6FCAD-C39C-4821-8412-7B4422841F1B}" type="pres">
      <dgm:prSet presAssocID="{792BB6D3-25AC-48E2-9615-453B866F0F95}" presName="level" presStyleLbl="node1" presStyleIdx="0" presStyleCnt="3" custLinFactNeighborX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D9CBC332-97A5-4522-9B18-E4907B766479}" type="pres">
      <dgm:prSet presAssocID="{792BB6D3-25AC-48E2-9615-453B866F0F9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05327A10-3C37-402D-8330-13A24AD85256}" type="pres">
      <dgm:prSet presAssocID="{EE50804A-D224-406B-9538-1F41F599BBA4}" presName="Name8" presStyleCnt="0"/>
      <dgm:spPr/>
    </dgm:pt>
    <dgm:pt modelId="{0792B022-82FB-4873-99BA-E5DC24037656}" type="pres">
      <dgm:prSet presAssocID="{EE50804A-D224-406B-9538-1F41F599BBA4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2E9F8163-0739-48BF-888E-58823ED0A62A}" type="pres">
      <dgm:prSet presAssocID="{EE50804A-D224-406B-9538-1F41F599BBA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89315A98-62C3-4A67-8D06-B1E6548E120A}" type="pres">
      <dgm:prSet presAssocID="{ADD954BE-4D21-41FD-B070-C0CB3467E50C}" presName="Name8" presStyleCnt="0"/>
      <dgm:spPr/>
    </dgm:pt>
    <dgm:pt modelId="{7EE1E79D-48D3-457B-8C63-5FB68D1203F2}" type="pres">
      <dgm:prSet presAssocID="{ADD954BE-4D21-41FD-B070-C0CB3467E50C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4FC32BAF-8F84-4E45-9C44-FC7E09784F67}" type="pres">
      <dgm:prSet presAssocID="{ADD954BE-4D21-41FD-B070-C0CB3467E50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</dgm:ptLst>
  <dgm:cxnLst>
    <dgm:cxn modelId="{CB56A0C1-D710-4E6B-90E9-67EC8D2BFBE1}" type="presOf" srcId="{ADD954BE-4D21-41FD-B070-C0CB3467E50C}" destId="{4FC32BAF-8F84-4E45-9C44-FC7E09784F67}" srcOrd="1" destOrd="0" presId="urn:microsoft.com/office/officeart/2005/8/layout/pyramid1"/>
    <dgm:cxn modelId="{53E26919-1AA2-45A9-A475-BAE8F9AF054A}" type="presOf" srcId="{EE50804A-D224-406B-9538-1F41F599BBA4}" destId="{2E9F8163-0739-48BF-888E-58823ED0A62A}" srcOrd="1" destOrd="0" presId="urn:microsoft.com/office/officeart/2005/8/layout/pyramid1"/>
    <dgm:cxn modelId="{6340F990-FFF3-400A-9026-BA3C8FEFE8E3}" srcId="{7C57667C-4448-452E-981C-34242A1A2151}" destId="{ADD954BE-4D21-41FD-B070-C0CB3467E50C}" srcOrd="2" destOrd="0" parTransId="{4C141220-D3C8-4BA1-A3AE-8C949927A3DE}" sibTransId="{1DBE0D33-DBBC-40E2-B144-1A76F9BFB59B}"/>
    <dgm:cxn modelId="{4E178760-A38F-417A-84ED-8DCBB2FCF5B3}" type="presOf" srcId="{792BB6D3-25AC-48E2-9615-453B866F0F95}" destId="{D9CBC332-97A5-4522-9B18-E4907B766479}" srcOrd="1" destOrd="0" presId="urn:microsoft.com/office/officeart/2005/8/layout/pyramid1"/>
    <dgm:cxn modelId="{D808D075-B2C8-4858-964D-5104E1F03388}" srcId="{7C57667C-4448-452E-981C-34242A1A2151}" destId="{EE50804A-D224-406B-9538-1F41F599BBA4}" srcOrd="1" destOrd="0" parTransId="{20CF8B69-AC30-4BDD-A8C0-44DA0485EE3D}" sibTransId="{88CEF127-0E6B-4EB1-93F6-216468E3340F}"/>
    <dgm:cxn modelId="{37A7AAB9-F58C-48F0-B01F-87A709F5E07C}" type="presOf" srcId="{ADD954BE-4D21-41FD-B070-C0CB3467E50C}" destId="{7EE1E79D-48D3-457B-8C63-5FB68D1203F2}" srcOrd="0" destOrd="0" presId="urn:microsoft.com/office/officeart/2005/8/layout/pyramid1"/>
    <dgm:cxn modelId="{4EA9C4F2-8438-4EA9-B849-CACC4C64414C}" srcId="{7C57667C-4448-452E-981C-34242A1A2151}" destId="{792BB6D3-25AC-48E2-9615-453B866F0F95}" srcOrd="0" destOrd="0" parTransId="{48CF8013-4699-4430-B7A3-C41F0B3ADF59}" sibTransId="{6098556C-0163-47DD-BD28-FE66CD158723}"/>
    <dgm:cxn modelId="{7969DBF6-BE9F-42B4-8210-A3CF5981F00C}" type="presOf" srcId="{792BB6D3-25AC-48E2-9615-453B866F0F95}" destId="{F0D6FCAD-C39C-4821-8412-7B4422841F1B}" srcOrd="0" destOrd="0" presId="urn:microsoft.com/office/officeart/2005/8/layout/pyramid1"/>
    <dgm:cxn modelId="{B52DF6FA-9D0F-4F5E-9063-205A5CD96638}" type="presOf" srcId="{7C57667C-4448-452E-981C-34242A1A2151}" destId="{E49A9738-04A8-45EB-8E18-A5047AB93EF7}" srcOrd="0" destOrd="0" presId="urn:microsoft.com/office/officeart/2005/8/layout/pyramid1"/>
    <dgm:cxn modelId="{7815FFDD-C12C-4488-A743-3C7A8FA65FC7}" type="presOf" srcId="{EE50804A-D224-406B-9538-1F41F599BBA4}" destId="{0792B022-82FB-4873-99BA-E5DC24037656}" srcOrd="0" destOrd="0" presId="urn:microsoft.com/office/officeart/2005/8/layout/pyramid1"/>
    <dgm:cxn modelId="{BC39EA47-AFFE-4721-9C75-64E799CF7445}" type="presParOf" srcId="{E49A9738-04A8-45EB-8E18-A5047AB93EF7}" destId="{4C285486-D8B6-4117-A73A-6CBD9874D120}" srcOrd="0" destOrd="0" presId="urn:microsoft.com/office/officeart/2005/8/layout/pyramid1"/>
    <dgm:cxn modelId="{3DC826BB-4A09-4F9D-A04D-875E54691E02}" type="presParOf" srcId="{4C285486-D8B6-4117-A73A-6CBD9874D120}" destId="{F0D6FCAD-C39C-4821-8412-7B4422841F1B}" srcOrd="0" destOrd="0" presId="urn:microsoft.com/office/officeart/2005/8/layout/pyramid1"/>
    <dgm:cxn modelId="{44CD5846-6617-439F-85AB-15C89B9FF1BB}" type="presParOf" srcId="{4C285486-D8B6-4117-A73A-6CBD9874D120}" destId="{D9CBC332-97A5-4522-9B18-E4907B766479}" srcOrd="1" destOrd="0" presId="urn:microsoft.com/office/officeart/2005/8/layout/pyramid1"/>
    <dgm:cxn modelId="{95A27E74-D183-4B56-8CD5-DCE84F7CFC1B}" type="presParOf" srcId="{E49A9738-04A8-45EB-8E18-A5047AB93EF7}" destId="{05327A10-3C37-402D-8330-13A24AD85256}" srcOrd="1" destOrd="0" presId="urn:microsoft.com/office/officeart/2005/8/layout/pyramid1"/>
    <dgm:cxn modelId="{00DB5F58-1693-407D-926D-8241A91EDAA8}" type="presParOf" srcId="{05327A10-3C37-402D-8330-13A24AD85256}" destId="{0792B022-82FB-4873-99BA-E5DC24037656}" srcOrd="0" destOrd="0" presId="urn:microsoft.com/office/officeart/2005/8/layout/pyramid1"/>
    <dgm:cxn modelId="{69B69240-4A32-4707-89D0-614FBD96368B}" type="presParOf" srcId="{05327A10-3C37-402D-8330-13A24AD85256}" destId="{2E9F8163-0739-48BF-888E-58823ED0A62A}" srcOrd="1" destOrd="0" presId="urn:microsoft.com/office/officeart/2005/8/layout/pyramid1"/>
    <dgm:cxn modelId="{F22F5D4C-8D6B-40F8-BE18-8EBE48A90A91}" type="presParOf" srcId="{E49A9738-04A8-45EB-8E18-A5047AB93EF7}" destId="{89315A98-62C3-4A67-8D06-B1E6548E120A}" srcOrd="2" destOrd="0" presId="urn:microsoft.com/office/officeart/2005/8/layout/pyramid1"/>
    <dgm:cxn modelId="{F298CBC1-7C5C-4747-B0D7-7CD70F907046}" type="presParOf" srcId="{89315A98-62C3-4A67-8D06-B1E6548E120A}" destId="{7EE1E79D-48D3-457B-8C63-5FB68D1203F2}" srcOrd="0" destOrd="0" presId="urn:microsoft.com/office/officeart/2005/8/layout/pyramid1"/>
    <dgm:cxn modelId="{E103EF8C-C439-484B-AC33-BDD996E15E64}" type="presParOf" srcId="{89315A98-62C3-4A67-8D06-B1E6548E120A}" destId="{4FC32BAF-8F84-4E45-9C44-FC7E09784F6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D8719AD-FAE2-48C5-9A97-D30571B5B465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199C785-9D80-4900-B9B1-A03CCE52C8F1}">
      <dgm:prSet phldrT="[Text]"/>
      <dgm:spPr/>
      <dgm:t>
        <a:bodyPr/>
        <a:lstStyle/>
        <a:p>
          <a:r>
            <a:rPr lang="en-US" dirty="0" smtClean="0"/>
            <a:t>Data extraction</a:t>
          </a:r>
        </a:p>
      </dgm:t>
    </dgm:pt>
    <dgm:pt modelId="{0B2615A8-049D-4412-84B3-0DBF771F3B16}" type="parTrans" cxnId="{F5F872EE-21E5-4F8C-B364-1DE100CD4EC2}">
      <dgm:prSet/>
      <dgm:spPr/>
      <dgm:t>
        <a:bodyPr/>
        <a:lstStyle/>
        <a:p>
          <a:endParaRPr lang="en-US"/>
        </a:p>
      </dgm:t>
    </dgm:pt>
    <dgm:pt modelId="{2C9D3B55-0535-4E04-B894-8E1FB80AF35C}" type="sibTrans" cxnId="{F5F872EE-21E5-4F8C-B364-1DE100CD4EC2}">
      <dgm:prSet/>
      <dgm:spPr/>
      <dgm:t>
        <a:bodyPr/>
        <a:lstStyle/>
        <a:p>
          <a:endParaRPr lang="en-US"/>
        </a:p>
      </dgm:t>
    </dgm:pt>
    <dgm:pt modelId="{BC125DDF-D3EA-4D34-AB20-01CD0A8D6C38}">
      <dgm:prSet phldrT="[Text]"/>
      <dgm:spPr/>
      <dgm:t>
        <a:bodyPr/>
        <a:lstStyle/>
        <a:p>
          <a:r>
            <a:rPr lang="en-US" smtClean="0"/>
            <a:t>Data Staging</a:t>
          </a:r>
          <a:endParaRPr lang="en-US" dirty="0"/>
        </a:p>
      </dgm:t>
    </dgm:pt>
    <dgm:pt modelId="{A37FAAD5-5347-4067-87A6-A4275E94BC41}" type="parTrans" cxnId="{D47263A6-A020-4DB3-BE93-1442196ECE6E}">
      <dgm:prSet/>
      <dgm:spPr/>
      <dgm:t>
        <a:bodyPr/>
        <a:lstStyle/>
        <a:p>
          <a:endParaRPr lang="en-US"/>
        </a:p>
      </dgm:t>
    </dgm:pt>
    <dgm:pt modelId="{EE7B9361-BD62-48B1-869E-9131D9316505}" type="sibTrans" cxnId="{D47263A6-A020-4DB3-BE93-1442196ECE6E}">
      <dgm:prSet/>
      <dgm:spPr/>
      <dgm:t>
        <a:bodyPr/>
        <a:lstStyle/>
        <a:p>
          <a:endParaRPr lang="en-US"/>
        </a:p>
      </dgm:t>
    </dgm:pt>
    <dgm:pt modelId="{080C2F92-0E15-4733-B5B2-18163E55A8D8}">
      <dgm:prSet phldrT="[Text]"/>
      <dgm:spPr/>
      <dgm:t>
        <a:bodyPr/>
        <a:lstStyle/>
        <a:p>
          <a:r>
            <a:rPr lang="en-US" smtClean="0"/>
            <a:t>Data transformation</a:t>
          </a:r>
          <a:endParaRPr lang="en-US" dirty="0"/>
        </a:p>
      </dgm:t>
    </dgm:pt>
    <dgm:pt modelId="{CEB98C9B-7DCF-4E39-9CFF-703FCB1F5EF8}" type="parTrans" cxnId="{D57730D8-2D53-46DB-859C-825EE3B68C44}">
      <dgm:prSet/>
      <dgm:spPr/>
      <dgm:t>
        <a:bodyPr/>
        <a:lstStyle/>
        <a:p>
          <a:endParaRPr lang="en-US"/>
        </a:p>
      </dgm:t>
    </dgm:pt>
    <dgm:pt modelId="{9EFB18B8-96EB-468C-AAFF-A9F7514FA784}" type="sibTrans" cxnId="{D57730D8-2D53-46DB-859C-825EE3B68C44}">
      <dgm:prSet/>
      <dgm:spPr/>
      <dgm:t>
        <a:bodyPr/>
        <a:lstStyle/>
        <a:p>
          <a:endParaRPr lang="en-US"/>
        </a:p>
      </dgm:t>
    </dgm:pt>
    <dgm:pt modelId="{7C5D62CF-5720-47F9-9BA7-A8CD73AC086C}">
      <dgm:prSet phldrT="[Text]"/>
      <dgm:spPr/>
      <dgm:t>
        <a:bodyPr/>
        <a:lstStyle/>
        <a:p>
          <a:r>
            <a:rPr lang="en-US" smtClean="0"/>
            <a:t>Data Loading</a:t>
          </a:r>
          <a:endParaRPr lang="en-US" dirty="0"/>
        </a:p>
      </dgm:t>
    </dgm:pt>
    <dgm:pt modelId="{BE824924-26CA-4C02-A845-AC804DD34641}" type="parTrans" cxnId="{64F829F8-50E2-446D-87BD-8FC2E6E103C6}">
      <dgm:prSet/>
      <dgm:spPr/>
      <dgm:t>
        <a:bodyPr/>
        <a:lstStyle/>
        <a:p>
          <a:endParaRPr lang="en-US"/>
        </a:p>
      </dgm:t>
    </dgm:pt>
    <dgm:pt modelId="{F459783D-20F0-44BA-A57F-05A606561A57}" type="sibTrans" cxnId="{64F829F8-50E2-446D-87BD-8FC2E6E103C6}">
      <dgm:prSet/>
      <dgm:spPr/>
      <dgm:t>
        <a:bodyPr/>
        <a:lstStyle/>
        <a:p>
          <a:endParaRPr lang="en-US"/>
        </a:p>
      </dgm:t>
    </dgm:pt>
    <dgm:pt modelId="{ADB8E340-8FA5-44D4-B00E-58DA7EDD0331}">
      <dgm:prSet phldrT="[Text]"/>
      <dgm:spPr/>
      <dgm:t>
        <a:bodyPr/>
        <a:lstStyle/>
        <a:p>
          <a:r>
            <a:rPr lang="en-US" dirty="0" smtClean="0"/>
            <a:t>Dimensional Modeling</a:t>
          </a:r>
          <a:endParaRPr lang="en-US" dirty="0"/>
        </a:p>
      </dgm:t>
    </dgm:pt>
    <dgm:pt modelId="{8103D387-59DD-4B16-B7C4-E42CE96A2C0E}" type="parTrans" cxnId="{2FC255BE-CCE1-40F1-834A-7E66E126C849}">
      <dgm:prSet/>
      <dgm:spPr/>
      <dgm:t>
        <a:bodyPr/>
        <a:lstStyle/>
        <a:p>
          <a:endParaRPr lang="en-US"/>
        </a:p>
      </dgm:t>
    </dgm:pt>
    <dgm:pt modelId="{AD4F4657-E08D-4D08-8F97-A8A6E71E39F6}" type="sibTrans" cxnId="{2FC255BE-CCE1-40F1-834A-7E66E126C849}">
      <dgm:prSet/>
      <dgm:spPr/>
      <dgm:t>
        <a:bodyPr/>
        <a:lstStyle/>
        <a:p>
          <a:endParaRPr lang="en-US"/>
        </a:p>
      </dgm:t>
    </dgm:pt>
    <dgm:pt modelId="{B61CC01D-A1E2-46E7-840E-3AA55EE1D03F}">
      <dgm:prSet/>
      <dgm:spPr/>
      <dgm:t>
        <a:bodyPr/>
        <a:lstStyle/>
        <a:p>
          <a:r>
            <a:rPr lang="en-US" dirty="0" smtClean="0"/>
            <a:t>OLAP and </a:t>
          </a:r>
          <a:r>
            <a:rPr lang="en-US" dirty="0" err="1" smtClean="0"/>
            <a:t>InMemory</a:t>
          </a:r>
          <a:r>
            <a:rPr lang="en-US" dirty="0" smtClean="0"/>
            <a:t> Databases</a:t>
          </a:r>
          <a:endParaRPr lang="en-US" dirty="0"/>
        </a:p>
      </dgm:t>
    </dgm:pt>
    <dgm:pt modelId="{F9605D3F-21C5-46F7-947C-1D3A7564A92B}" type="parTrans" cxnId="{CB4AAE23-0B00-4E16-B7AF-63FE6404B657}">
      <dgm:prSet/>
      <dgm:spPr/>
      <dgm:t>
        <a:bodyPr/>
        <a:lstStyle/>
        <a:p>
          <a:endParaRPr lang="en-US"/>
        </a:p>
      </dgm:t>
    </dgm:pt>
    <dgm:pt modelId="{56EB1B93-B004-4314-927A-5B1326D5521F}" type="sibTrans" cxnId="{CB4AAE23-0B00-4E16-B7AF-63FE6404B657}">
      <dgm:prSet/>
      <dgm:spPr/>
      <dgm:t>
        <a:bodyPr/>
        <a:lstStyle/>
        <a:p>
          <a:endParaRPr lang="en-US"/>
        </a:p>
      </dgm:t>
    </dgm:pt>
    <dgm:pt modelId="{F236DD5E-27E4-46C4-B9AE-3001C8CB1309}">
      <dgm:prSet phldrT="[Text]"/>
      <dgm:spPr/>
      <dgm:t>
        <a:bodyPr/>
        <a:lstStyle/>
        <a:p>
          <a:r>
            <a:rPr lang="en-US" smtClean="0"/>
            <a:t>Relational Partitioning</a:t>
          </a:r>
          <a:endParaRPr lang="en-US" dirty="0"/>
        </a:p>
      </dgm:t>
    </dgm:pt>
    <dgm:pt modelId="{BDA2C514-CAEA-4E13-BF2A-BC39A2759A49}" type="parTrans" cxnId="{CC1CECE3-50F8-411A-AA65-0C05F64E5ACB}">
      <dgm:prSet/>
      <dgm:spPr/>
      <dgm:t>
        <a:bodyPr/>
        <a:lstStyle/>
        <a:p>
          <a:endParaRPr lang="en-US"/>
        </a:p>
      </dgm:t>
    </dgm:pt>
    <dgm:pt modelId="{7A66AA54-1096-4985-BBC7-1E0213794AEC}" type="sibTrans" cxnId="{CC1CECE3-50F8-411A-AA65-0C05F64E5ACB}">
      <dgm:prSet/>
      <dgm:spPr/>
      <dgm:t>
        <a:bodyPr/>
        <a:lstStyle/>
        <a:p>
          <a:endParaRPr lang="en-US"/>
        </a:p>
      </dgm:t>
    </dgm:pt>
    <dgm:pt modelId="{E78CBE30-35E2-4534-9BC1-609D1640C95B}" type="pres">
      <dgm:prSet presAssocID="{6D8719AD-FAE2-48C5-9A97-D30571B5B46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A02D8931-5A4F-44FE-888A-040E1A94A1D3}" type="pres">
      <dgm:prSet presAssocID="{6D8719AD-FAE2-48C5-9A97-D30571B5B465}" presName="Name1" presStyleCnt="0"/>
      <dgm:spPr/>
    </dgm:pt>
    <dgm:pt modelId="{689FCFFD-CBC0-4F9C-9017-778644080CA0}" type="pres">
      <dgm:prSet presAssocID="{6D8719AD-FAE2-48C5-9A97-D30571B5B465}" presName="cycle" presStyleCnt="0"/>
      <dgm:spPr/>
    </dgm:pt>
    <dgm:pt modelId="{8CE82349-FB35-4EBC-856E-6983445627CD}" type="pres">
      <dgm:prSet presAssocID="{6D8719AD-FAE2-48C5-9A97-D30571B5B465}" presName="srcNode" presStyleLbl="node1" presStyleIdx="0" presStyleCnt="7"/>
      <dgm:spPr/>
    </dgm:pt>
    <dgm:pt modelId="{B1571432-935F-418F-8EB1-EA1A43050BB1}" type="pres">
      <dgm:prSet presAssocID="{6D8719AD-FAE2-48C5-9A97-D30571B5B465}" presName="conn" presStyleLbl="parChTrans1D2" presStyleIdx="0" presStyleCnt="1"/>
      <dgm:spPr/>
      <dgm:t>
        <a:bodyPr/>
        <a:lstStyle/>
        <a:p>
          <a:endParaRPr lang="en-US"/>
        </a:p>
      </dgm:t>
    </dgm:pt>
    <dgm:pt modelId="{51FEC0AA-6CF7-4FFF-BA9A-C22EAB88A584}" type="pres">
      <dgm:prSet presAssocID="{6D8719AD-FAE2-48C5-9A97-D30571B5B465}" presName="extraNode" presStyleLbl="node1" presStyleIdx="0" presStyleCnt="7"/>
      <dgm:spPr/>
    </dgm:pt>
    <dgm:pt modelId="{755BC9EA-7F27-406B-9E59-9B374508A274}" type="pres">
      <dgm:prSet presAssocID="{6D8719AD-FAE2-48C5-9A97-D30571B5B465}" presName="dstNode" presStyleLbl="node1" presStyleIdx="0" presStyleCnt="7"/>
      <dgm:spPr/>
    </dgm:pt>
    <dgm:pt modelId="{056EF88F-9E94-4F03-8913-E60B0241E7EB}" type="pres">
      <dgm:prSet presAssocID="{2199C785-9D80-4900-B9B1-A03CCE52C8F1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111DAE-0C23-4178-8F38-6ED8CDC0A31D}" type="pres">
      <dgm:prSet presAssocID="{2199C785-9D80-4900-B9B1-A03CCE52C8F1}" presName="accent_1" presStyleCnt="0"/>
      <dgm:spPr/>
    </dgm:pt>
    <dgm:pt modelId="{732B63A8-7001-4434-BD69-554A51DC8A3C}" type="pres">
      <dgm:prSet presAssocID="{2199C785-9D80-4900-B9B1-A03CCE52C8F1}" presName="accentRepeatNode" presStyleLbl="solidFgAcc1" presStyleIdx="0" presStyleCnt="7"/>
      <dgm:spPr/>
    </dgm:pt>
    <dgm:pt modelId="{870F85EA-3EE6-4E25-A88F-5842DF781852}" type="pres">
      <dgm:prSet presAssocID="{BC125DDF-D3EA-4D34-AB20-01CD0A8D6C38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8E0692-E0A4-4911-B427-11048A58E057}" type="pres">
      <dgm:prSet presAssocID="{BC125DDF-D3EA-4D34-AB20-01CD0A8D6C38}" presName="accent_2" presStyleCnt="0"/>
      <dgm:spPr/>
    </dgm:pt>
    <dgm:pt modelId="{990128D4-9D68-43FE-B44C-02E4F512763B}" type="pres">
      <dgm:prSet presAssocID="{BC125DDF-D3EA-4D34-AB20-01CD0A8D6C38}" presName="accentRepeatNode" presStyleLbl="solidFgAcc1" presStyleIdx="1" presStyleCnt="7"/>
      <dgm:spPr/>
    </dgm:pt>
    <dgm:pt modelId="{E5DDF033-1C3F-44BE-99F0-3D544B41FD2B}" type="pres">
      <dgm:prSet presAssocID="{080C2F92-0E15-4733-B5B2-18163E55A8D8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97E933-2B46-408E-9BD2-A8C5C5CB2F5D}" type="pres">
      <dgm:prSet presAssocID="{080C2F92-0E15-4733-B5B2-18163E55A8D8}" presName="accent_3" presStyleCnt="0"/>
      <dgm:spPr/>
    </dgm:pt>
    <dgm:pt modelId="{A87DC7F0-8038-432B-BCBD-7A04E4029340}" type="pres">
      <dgm:prSet presAssocID="{080C2F92-0E15-4733-B5B2-18163E55A8D8}" presName="accentRepeatNode" presStyleLbl="solidFgAcc1" presStyleIdx="2" presStyleCnt="7"/>
      <dgm:spPr/>
    </dgm:pt>
    <dgm:pt modelId="{C6DBD24B-BA4E-423B-9E63-B7AD618CAD5A}" type="pres">
      <dgm:prSet presAssocID="{7C5D62CF-5720-47F9-9BA7-A8CD73AC086C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BF73CD9-02B9-4D78-8743-B425F81431C7}" type="pres">
      <dgm:prSet presAssocID="{7C5D62CF-5720-47F9-9BA7-A8CD73AC086C}" presName="accent_4" presStyleCnt="0"/>
      <dgm:spPr/>
    </dgm:pt>
    <dgm:pt modelId="{347EFA7E-7E44-4191-A7FB-58CF9E508FE2}" type="pres">
      <dgm:prSet presAssocID="{7C5D62CF-5720-47F9-9BA7-A8CD73AC086C}" presName="accentRepeatNode" presStyleLbl="solidFgAcc1" presStyleIdx="3" presStyleCnt="7"/>
      <dgm:spPr/>
    </dgm:pt>
    <dgm:pt modelId="{FAD964DF-B060-4951-AE43-788D8E2CB908}" type="pres">
      <dgm:prSet presAssocID="{ADB8E340-8FA5-44D4-B00E-58DA7EDD0331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4686C8-74CD-4131-A27B-98C719932E9D}" type="pres">
      <dgm:prSet presAssocID="{ADB8E340-8FA5-44D4-B00E-58DA7EDD0331}" presName="accent_5" presStyleCnt="0"/>
      <dgm:spPr/>
    </dgm:pt>
    <dgm:pt modelId="{0B61A90B-997E-4CEF-8930-D8FD01DF341B}" type="pres">
      <dgm:prSet presAssocID="{ADB8E340-8FA5-44D4-B00E-58DA7EDD0331}" presName="accentRepeatNode" presStyleLbl="solidFgAcc1" presStyleIdx="4" presStyleCnt="7"/>
      <dgm:spPr/>
    </dgm:pt>
    <dgm:pt modelId="{F9058533-7A69-4FC8-A38C-6B64C7742ED8}" type="pres">
      <dgm:prSet presAssocID="{F236DD5E-27E4-46C4-B9AE-3001C8CB1309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03C85B-7CF7-4B4B-8649-A05025C975B5}" type="pres">
      <dgm:prSet presAssocID="{F236DD5E-27E4-46C4-B9AE-3001C8CB1309}" presName="accent_6" presStyleCnt="0"/>
      <dgm:spPr/>
    </dgm:pt>
    <dgm:pt modelId="{FFF049AE-C54A-4D31-908C-A502B61505BE}" type="pres">
      <dgm:prSet presAssocID="{F236DD5E-27E4-46C4-B9AE-3001C8CB1309}" presName="accentRepeatNode" presStyleLbl="solidFgAcc1" presStyleIdx="5" presStyleCnt="7"/>
      <dgm:spPr/>
    </dgm:pt>
    <dgm:pt modelId="{F00BB581-449A-4E43-88E0-9AC805893AB6}" type="pres">
      <dgm:prSet presAssocID="{B61CC01D-A1E2-46E7-840E-3AA55EE1D03F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22A4D1-D522-4CAA-9D38-B43D627FB51F}" type="pres">
      <dgm:prSet presAssocID="{B61CC01D-A1E2-46E7-840E-3AA55EE1D03F}" presName="accent_7" presStyleCnt="0"/>
      <dgm:spPr/>
    </dgm:pt>
    <dgm:pt modelId="{1DAF4C77-2822-46D2-BF72-F99946346FF6}" type="pres">
      <dgm:prSet presAssocID="{B61CC01D-A1E2-46E7-840E-3AA55EE1D03F}" presName="accentRepeatNode" presStyleLbl="solidFgAcc1" presStyleIdx="6" presStyleCnt="7"/>
      <dgm:spPr/>
    </dgm:pt>
  </dgm:ptLst>
  <dgm:cxnLst>
    <dgm:cxn modelId="{55D139D8-C165-4DB1-8987-D7F3CA1368A8}" type="presOf" srcId="{BC125DDF-D3EA-4D34-AB20-01CD0A8D6C38}" destId="{870F85EA-3EE6-4E25-A88F-5842DF781852}" srcOrd="0" destOrd="0" presId="urn:microsoft.com/office/officeart/2008/layout/VerticalCurvedList"/>
    <dgm:cxn modelId="{D6A9B096-C2E0-4084-BC5B-86405171C4FD}" type="presOf" srcId="{ADB8E340-8FA5-44D4-B00E-58DA7EDD0331}" destId="{FAD964DF-B060-4951-AE43-788D8E2CB908}" srcOrd="0" destOrd="0" presId="urn:microsoft.com/office/officeart/2008/layout/VerticalCurvedList"/>
    <dgm:cxn modelId="{91A005EF-4D0A-454E-9039-CB89CDDCC99B}" type="presOf" srcId="{F236DD5E-27E4-46C4-B9AE-3001C8CB1309}" destId="{F9058533-7A69-4FC8-A38C-6B64C7742ED8}" srcOrd="0" destOrd="0" presId="urn:microsoft.com/office/officeart/2008/layout/VerticalCurvedList"/>
    <dgm:cxn modelId="{D57730D8-2D53-46DB-859C-825EE3B68C44}" srcId="{6D8719AD-FAE2-48C5-9A97-D30571B5B465}" destId="{080C2F92-0E15-4733-B5B2-18163E55A8D8}" srcOrd="2" destOrd="0" parTransId="{CEB98C9B-7DCF-4E39-9CFF-703FCB1F5EF8}" sibTransId="{9EFB18B8-96EB-468C-AAFF-A9F7514FA784}"/>
    <dgm:cxn modelId="{64F829F8-50E2-446D-87BD-8FC2E6E103C6}" srcId="{6D8719AD-FAE2-48C5-9A97-D30571B5B465}" destId="{7C5D62CF-5720-47F9-9BA7-A8CD73AC086C}" srcOrd="3" destOrd="0" parTransId="{BE824924-26CA-4C02-A845-AC804DD34641}" sibTransId="{F459783D-20F0-44BA-A57F-05A606561A57}"/>
    <dgm:cxn modelId="{AB0BD75C-BCD4-4637-B6E3-3BD5779E9953}" type="presOf" srcId="{6D8719AD-FAE2-48C5-9A97-D30571B5B465}" destId="{E78CBE30-35E2-4534-9BC1-609D1640C95B}" srcOrd="0" destOrd="0" presId="urn:microsoft.com/office/officeart/2008/layout/VerticalCurvedList"/>
    <dgm:cxn modelId="{5BCC76F9-6AC7-4C9D-8510-C1E163796388}" type="presOf" srcId="{2C9D3B55-0535-4E04-B894-8E1FB80AF35C}" destId="{B1571432-935F-418F-8EB1-EA1A43050BB1}" srcOrd="0" destOrd="0" presId="urn:microsoft.com/office/officeart/2008/layout/VerticalCurvedList"/>
    <dgm:cxn modelId="{D47263A6-A020-4DB3-BE93-1442196ECE6E}" srcId="{6D8719AD-FAE2-48C5-9A97-D30571B5B465}" destId="{BC125DDF-D3EA-4D34-AB20-01CD0A8D6C38}" srcOrd="1" destOrd="0" parTransId="{A37FAAD5-5347-4067-87A6-A4275E94BC41}" sibTransId="{EE7B9361-BD62-48B1-869E-9131D9316505}"/>
    <dgm:cxn modelId="{AED9F88A-6176-49D2-A7A1-A86DAA09FA59}" type="presOf" srcId="{080C2F92-0E15-4733-B5B2-18163E55A8D8}" destId="{E5DDF033-1C3F-44BE-99F0-3D544B41FD2B}" srcOrd="0" destOrd="0" presId="urn:microsoft.com/office/officeart/2008/layout/VerticalCurvedList"/>
    <dgm:cxn modelId="{F7881A84-85EB-4682-BCC4-10150BD2B609}" type="presOf" srcId="{B61CC01D-A1E2-46E7-840E-3AA55EE1D03F}" destId="{F00BB581-449A-4E43-88E0-9AC805893AB6}" srcOrd="0" destOrd="0" presId="urn:microsoft.com/office/officeart/2008/layout/VerticalCurvedList"/>
    <dgm:cxn modelId="{05145C7E-AF40-4ADD-989E-84E3C6070CEA}" type="presOf" srcId="{7C5D62CF-5720-47F9-9BA7-A8CD73AC086C}" destId="{C6DBD24B-BA4E-423B-9E63-B7AD618CAD5A}" srcOrd="0" destOrd="0" presId="urn:microsoft.com/office/officeart/2008/layout/VerticalCurvedList"/>
    <dgm:cxn modelId="{F5F872EE-21E5-4F8C-B364-1DE100CD4EC2}" srcId="{6D8719AD-FAE2-48C5-9A97-D30571B5B465}" destId="{2199C785-9D80-4900-B9B1-A03CCE52C8F1}" srcOrd="0" destOrd="0" parTransId="{0B2615A8-049D-4412-84B3-0DBF771F3B16}" sibTransId="{2C9D3B55-0535-4E04-B894-8E1FB80AF35C}"/>
    <dgm:cxn modelId="{2FC255BE-CCE1-40F1-834A-7E66E126C849}" srcId="{6D8719AD-FAE2-48C5-9A97-D30571B5B465}" destId="{ADB8E340-8FA5-44D4-B00E-58DA7EDD0331}" srcOrd="4" destOrd="0" parTransId="{8103D387-59DD-4B16-B7C4-E42CE96A2C0E}" sibTransId="{AD4F4657-E08D-4D08-8F97-A8A6E71E39F6}"/>
    <dgm:cxn modelId="{CB4AAE23-0B00-4E16-B7AF-63FE6404B657}" srcId="{6D8719AD-FAE2-48C5-9A97-D30571B5B465}" destId="{B61CC01D-A1E2-46E7-840E-3AA55EE1D03F}" srcOrd="6" destOrd="0" parTransId="{F9605D3F-21C5-46F7-947C-1D3A7564A92B}" sibTransId="{56EB1B93-B004-4314-927A-5B1326D5521F}"/>
    <dgm:cxn modelId="{18F5F85D-2D32-46EB-8F48-C49F67CF7989}" type="presOf" srcId="{2199C785-9D80-4900-B9B1-A03CCE52C8F1}" destId="{056EF88F-9E94-4F03-8913-E60B0241E7EB}" srcOrd="0" destOrd="0" presId="urn:microsoft.com/office/officeart/2008/layout/VerticalCurvedList"/>
    <dgm:cxn modelId="{CC1CECE3-50F8-411A-AA65-0C05F64E5ACB}" srcId="{6D8719AD-FAE2-48C5-9A97-D30571B5B465}" destId="{F236DD5E-27E4-46C4-B9AE-3001C8CB1309}" srcOrd="5" destOrd="0" parTransId="{BDA2C514-CAEA-4E13-BF2A-BC39A2759A49}" sibTransId="{7A66AA54-1096-4985-BBC7-1E0213794AEC}"/>
    <dgm:cxn modelId="{BA791FEF-AA20-45ED-91FB-6F6089451181}" type="presParOf" srcId="{E78CBE30-35E2-4534-9BC1-609D1640C95B}" destId="{A02D8931-5A4F-44FE-888A-040E1A94A1D3}" srcOrd="0" destOrd="0" presId="urn:microsoft.com/office/officeart/2008/layout/VerticalCurvedList"/>
    <dgm:cxn modelId="{67D601D6-C7E7-4F27-B9DD-CF95BD9B0893}" type="presParOf" srcId="{A02D8931-5A4F-44FE-888A-040E1A94A1D3}" destId="{689FCFFD-CBC0-4F9C-9017-778644080CA0}" srcOrd="0" destOrd="0" presId="urn:microsoft.com/office/officeart/2008/layout/VerticalCurvedList"/>
    <dgm:cxn modelId="{D5467E3B-E615-4C85-8B0E-20072F9B8489}" type="presParOf" srcId="{689FCFFD-CBC0-4F9C-9017-778644080CA0}" destId="{8CE82349-FB35-4EBC-856E-6983445627CD}" srcOrd="0" destOrd="0" presId="urn:microsoft.com/office/officeart/2008/layout/VerticalCurvedList"/>
    <dgm:cxn modelId="{0D02DCA2-2042-4098-9975-05D556A29DD7}" type="presParOf" srcId="{689FCFFD-CBC0-4F9C-9017-778644080CA0}" destId="{B1571432-935F-418F-8EB1-EA1A43050BB1}" srcOrd="1" destOrd="0" presId="urn:microsoft.com/office/officeart/2008/layout/VerticalCurvedList"/>
    <dgm:cxn modelId="{DF172078-57C5-4F0F-9DD9-EAAF09EB0B6A}" type="presParOf" srcId="{689FCFFD-CBC0-4F9C-9017-778644080CA0}" destId="{51FEC0AA-6CF7-4FFF-BA9A-C22EAB88A584}" srcOrd="2" destOrd="0" presId="urn:microsoft.com/office/officeart/2008/layout/VerticalCurvedList"/>
    <dgm:cxn modelId="{4448673D-E269-4EFE-904C-F0E11614756F}" type="presParOf" srcId="{689FCFFD-CBC0-4F9C-9017-778644080CA0}" destId="{755BC9EA-7F27-406B-9E59-9B374508A274}" srcOrd="3" destOrd="0" presId="urn:microsoft.com/office/officeart/2008/layout/VerticalCurvedList"/>
    <dgm:cxn modelId="{A7845271-39E6-433E-8B89-6914EDFA55D0}" type="presParOf" srcId="{A02D8931-5A4F-44FE-888A-040E1A94A1D3}" destId="{056EF88F-9E94-4F03-8913-E60B0241E7EB}" srcOrd="1" destOrd="0" presId="urn:microsoft.com/office/officeart/2008/layout/VerticalCurvedList"/>
    <dgm:cxn modelId="{BE29F1F0-9DDD-4308-8F84-D27CBB5B0029}" type="presParOf" srcId="{A02D8931-5A4F-44FE-888A-040E1A94A1D3}" destId="{4D111DAE-0C23-4178-8F38-6ED8CDC0A31D}" srcOrd="2" destOrd="0" presId="urn:microsoft.com/office/officeart/2008/layout/VerticalCurvedList"/>
    <dgm:cxn modelId="{C8E61CEE-6B19-4F70-A6B9-75CEF005258D}" type="presParOf" srcId="{4D111DAE-0C23-4178-8F38-6ED8CDC0A31D}" destId="{732B63A8-7001-4434-BD69-554A51DC8A3C}" srcOrd="0" destOrd="0" presId="urn:microsoft.com/office/officeart/2008/layout/VerticalCurvedList"/>
    <dgm:cxn modelId="{928B2007-E8ED-4BC5-9F86-4B76F722391A}" type="presParOf" srcId="{A02D8931-5A4F-44FE-888A-040E1A94A1D3}" destId="{870F85EA-3EE6-4E25-A88F-5842DF781852}" srcOrd="3" destOrd="0" presId="urn:microsoft.com/office/officeart/2008/layout/VerticalCurvedList"/>
    <dgm:cxn modelId="{C53CC693-791F-43B1-80E4-CD38F05FE148}" type="presParOf" srcId="{A02D8931-5A4F-44FE-888A-040E1A94A1D3}" destId="{0F8E0692-E0A4-4911-B427-11048A58E057}" srcOrd="4" destOrd="0" presId="urn:microsoft.com/office/officeart/2008/layout/VerticalCurvedList"/>
    <dgm:cxn modelId="{7565BFB6-A17D-4D79-800C-63C5AF70B792}" type="presParOf" srcId="{0F8E0692-E0A4-4911-B427-11048A58E057}" destId="{990128D4-9D68-43FE-B44C-02E4F512763B}" srcOrd="0" destOrd="0" presId="urn:microsoft.com/office/officeart/2008/layout/VerticalCurvedList"/>
    <dgm:cxn modelId="{67269C6D-A9C3-44BC-8571-EE0BB7E276BC}" type="presParOf" srcId="{A02D8931-5A4F-44FE-888A-040E1A94A1D3}" destId="{E5DDF033-1C3F-44BE-99F0-3D544B41FD2B}" srcOrd="5" destOrd="0" presId="urn:microsoft.com/office/officeart/2008/layout/VerticalCurvedList"/>
    <dgm:cxn modelId="{8FB0BE4F-A16D-4E9B-B41B-25D47B807582}" type="presParOf" srcId="{A02D8931-5A4F-44FE-888A-040E1A94A1D3}" destId="{8F97E933-2B46-408E-9BD2-A8C5C5CB2F5D}" srcOrd="6" destOrd="0" presId="urn:microsoft.com/office/officeart/2008/layout/VerticalCurvedList"/>
    <dgm:cxn modelId="{F783C850-8174-47A1-B897-0430A2BCDD66}" type="presParOf" srcId="{8F97E933-2B46-408E-9BD2-A8C5C5CB2F5D}" destId="{A87DC7F0-8038-432B-BCBD-7A04E4029340}" srcOrd="0" destOrd="0" presId="urn:microsoft.com/office/officeart/2008/layout/VerticalCurvedList"/>
    <dgm:cxn modelId="{4D68351E-7137-49E4-9D40-690ED36209A7}" type="presParOf" srcId="{A02D8931-5A4F-44FE-888A-040E1A94A1D3}" destId="{C6DBD24B-BA4E-423B-9E63-B7AD618CAD5A}" srcOrd="7" destOrd="0" presId="urn:microsoft.com/office/officeart/2008/layout/VerticalCurvedList"/>
    <dgm:cxn modelId="{262D659C-F313-475F-BC41-333C2E999DD2}" type="presParOf" srcId="{A02D8931-5A4F-44FE-888A-040E1A94A1D3}" destId="{0BF73CD9-02B9-4D78-8743-B425F81431C7}" srcOrd="8" destOrd="0" presId="urn:microsoft.com/office/officeart/2008/layout/VerticalCurvedList"/>
    <dgm:cxn modelId="{CBFF4385-C651-4A57-B06E-61163FFF28F3}" type="presParOf" srcId="{0BF73CD9-02B9-4D78-8743-B425F81431C7}" destId="{347EFA7E-7E44-4191-A7FB-58CF9E508FE2}" srcOrd="0" destOrd="0" presId="urn:microsoft.com/office/officeart/2008/layout/VerticalCurvedList"/>
    <dgm:cxn modelId="{196805DF-CE55-4AE0-BC39-F039BFA2A2CA}" type="presParOf" srcId="{A02D8931-5A4F-44FE-888A-040E1A94A1D3}" destId="{FAD964DF-B060-4951-AE43-788D8E2CB908}" srcOrd="9" destOrd="0" presId="urn:microsoft.com/office/officeart/2008/layout/VerticalCurvedList"/>
    <dgm:cxn modelId="{53C5F6DB-F77B-43A0-B116-BF472FA2A40C}" type="presParOf" srcId="{A02D8931-5A4F-44FE-888A-040E1A94A1D3}" destId="{564686C8-74CD-4131-A27B-98C719932E9D}" srcOrd="10" destOrd="0" presId="urn:microsoft.com/office/officeart/2008/layout/VerticalCurvedList"/>
    <dgm:cxn modelId="{39771C65-3D56-4DE3-B9DC-83D829F6EB71}" type="presParOf" srcId="{564686C8-74CD-4131-A27B-98C719932E9D}" destId="{0B61A90B-997E-4CEF-8930-D8FD01DF341B}" srcOrd="0" destOrd="0" presId="urn:microsoft.com/office/officeart/2008/layout/VerticalCurvedList"/>
    <dgm:cxn modelId="{B9257735-5806-474A-8B4E-A7A962E73E26}" type="presParOf" srcId="{A02D8931-5A4F-44FE-888A-040E1A94A1D3}" destId="{F9058533-7A69-4FC8-A38C-6B64C7742ED8}" srcOrd="11" destOrd="0" presId="urn:microsoft.com/office/officeart/2008/layout/VerticalCurvedList"/>
    <dgm:cxn modelId="{CF8B2BC0-BFDB-4CE0-BCEF-EA847E4CCF8A}" type="presParOf" srcId="{A02D8931-5A4F-44FE-888A-040E1A94A1D3}" destId="{5103C85B-7CF7-4B4B-8649-A05025C975B5}" srcOrd="12" destOrd="0" presId="urn:microsoft.com/office/officeart/2008/layout/VerticalCurvedList"/>
    <dgm:cxn modelId="{60427C21-62D1-4622-AB45-6570D105A529}" type="presParOf" srcId="{5103C85B-7CF7-4B4B-8649-A05025C975B5}" destId="{FFF049AE-C54A-4D31-908C-A502B61505BE}" srcOrd="0" destOrd="0" presId="urn:microsoft.com/office/officeart/2008/layout/VerticalCurvedList"/>
    <dgm:cxn modelId="{EB2097EC-1085-40A4-9992-CC2BE435BBB9}" type="presParOf" srcId="{A02D8931-5A4F-44FE-888A-040E1A94A1D3}" destId="{F00BB581-449A-4E43-88E0-9AC805893AB6}" srcOrd="13" destOrd="0" presId="urn:microsoft.com/office/officeart/2008/layout/VerticalCurvedList"/>
    <dgm:cxn modelId="{94447D41-70A7-4120-A71C-8B347819B830}" type="presParOf" srcId="{A02D8931-5A4F-44FE-888A-040E1A94A1D3}" destId="{3422A4D1-D522-4CAA-9D38-B43D627FB51F}" srcOrd="14" destOrd="0" presId="urn:microsoft.com/office/officeart/2008/layout/VerticalCurvedList"/>
    <dgm:cxn modelId="{BA1D63CB-29CF-4F65-A84D-4CE8B19B8755}" type="presParOf" srcId="{3422A4D1-D522-4CAA-9D38-B43D627FB51F}" destId="{1DAF4C77-2822-46D2-BF72-F99946346FF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D8719AD-FAE2-48C5-9A97-D30571B5B465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199C785-9D80-4900-B9B1-A03CCE52C8F1}">
      <dgm:prSet phldrT="[Text]"/>
      <dgm:spPr/>
      <dgm:t>
        <a:bodyPr/>
        <a:lstStyle/>
        <a:p>
          <a:r>
            <a:rPr lang="en-US" dirty="0" smtClean="0"/>
            <a:t>Data extraction</a:t>
          </a:r>
        </a:p>
      </dgm:t>
    </dgm:pt>
    <dgm:pt modelId="{0B2615A8-049D-4412-84B3-0DBF771F3B16}" type="parTrans" cxnId="{F5F872EE-21E5-4F8C-B364-1DE100CD4EC2}">
      <dgm:prSet/>
      <dgm:spPr/>
      <dgm:t>
        <a:bodyPr/>
        <a:lstStyle/>
        <a:p>
          <a:endParaRPr lang="en-US"/>
        </a:p>
      </dgm:t>
    </dgm:pt>
    <dgm:pt modelId="{2C9D3B55-0535-4E04-B894-8E1FB80AF35C}" type="sibTrans" cxnId="{F5F872EE-21E5-4F8C-B364-1DE100CD4EC2}">
      <dgm:prSet/>
      <dgm:spPr/>
      <dgm:t>
        <a:bodyPr/>
        <a:lstStyle/>
        <a:p>
          <a:endParaRPr lang="en-US"/>
        </a:p>
      </dgm:t>
    </dgm:pt>
    <dgm:pt modelId="{BC125DDF-D3EA-4D34-AB20-01CD0A8D6C38}">
      <dgm:prSet phldrT="[Text]"/>
      <dgm:spPr/>
      <dgm:t>
        <a:bodyPr/>
        <a:lstStyle/>
        <a:p>
          <a:r>
            <a:rPr lang="en-US" smtClean="0"/>
            <a:t>Data Staging</a:t>
          </a:r>
          <a:endParaRPr lang="en-US" dirty="0"/>
        </a:p>
      </dgm:t>
    </dgm:pt>
    <dgm:pt modelId="{A37FAAD5-5347-4067-87A6-A4275E94BC41}" type="parTrans" cxnId="{D47263A6-A020-4DB3-BE93-1442196ECE6E}">
      <dgm:prSet/>
      <dgm:spPr/>
      <dgm:t>
        <a:bodyPr/>
        <a:lstStyle/>
        <a:p>
          <a:endParaRPr lang="en-US"/>
        </a:p>
      </dgm:t>
    </dgm:pt>
    <dgm:pt modelId="{EE7B9361-BD62-48B1-869E-9131D9316505}" type="sibTrans" cxnId="{D47263A6-A020-4DB3-BE93-1442196ECE6E}">
      <dgm:prSet/>
      <dgm:spPr/>
      <dgm:t>
        <a:bodyPr/>
        <a:lstStyle/>
        <a:p>
          <a:endParaRPr lang="en-US"/>
        </a:p>
      </dgm:t>
    </dgm:pt>
    <dgm:pt modelId="{080C2F92-0E15-4733-B5B2-18163E55A8D8}">
      <dgm:prSet phldrT="[Text]"/>
      <dgm:spPr/>
      <dgm:t>
        <a:bodyPr/>
        <a:lstStyle/>
        <a:p>
          <a:r>
            <a:rPr lang="en-US" smtClean="0"/>
            <a:t>Data transformation</a:t>
          </a:r>
          <a:endParaRPr lang="en-US" dirty="0"/>
        </a:p>
      </dgm:t>
    </dgm:pt>
    <dgm:pt modelId="{CEB98C9B-7DCF-4E39-9CFF-703FCB1F5EF8}" type="parTrans" cxnId="{D57730D8-2D53-46DB-859C-825EE3B68C44}">
      <dgm:prSet/>
      <dgm:spPr/>
      <dgm:t>
        <a:bodyPr/>
        <a:lstStyle/>
        <a:p>
          <a:endParaRPr lang="en-US"/>
        </a:p>
      </dgm:t>
    </dgm:pt>
    <dgm:pt modelId="{9EFB18B8-96EB-468C-AAFF-A9F7514FA784}" type="sibTrans" cxnId="{D57730D8-2D53-46DB-859C-825EE3B68C44}">
      <dgm:prSet/>
      <dgm:spPr/>
      <dgm:t>
        <a:bodyPr/>
        <a:lstStyle/>
        <a:p>
          <a:endParaRPr lang="en-US"/>
        </a:p>
      </dgm:t>
    </dgm:pt>
    <dgm:pt modelId="{7C5D62CF-5720-47F9-9BA7-A8CD73AC086C}">
      <dgm:prSet phldrT="[Text]"/>
      <dgm:spPr/>
      <dgm:t>
        <a:bodyPr/>
        <a:lstStyle/>
        <a:p>
          <a:r>
            <a:rPr lang="en-US" smtClean="0"/>
            <a:t>Data Loading</a:t>
          </a:r>
          <a:endParaRPr lang="en-US" dirty="0"/>
        </a:p>
      </dgm:t>
    </dgm:pt>
    <dgm:pt modelId="{BE824924-26CA-4C02-A845-AC804DD34641}" type="parTrans" cxnId="{64F829F8-50E2-446D-87BD-8FC2E6E103C6}">
      <dgm:prSet/>
      <dgm:spPr/>
      <dgm:t>
        <a:bodyPr/>
        <a:lstStyle/>
        <a:p>
          <a:endParaRPr lang="en-US"/>
        </a:p>
      </dgm:t>
    </dgm:pt>
    <dgm:pt modelId="{F459783D-20F0-44BA-A57F-05A606561A57}" type="sibTrans" cxnId="{64F829F8-50E2-446D-87BD-8FC2E6E103C6}">
      <dgm:prSet/>
      <dgm:spPr/>
      <dgm:t>
        <a:bodyPr/>
        <a:lstStyle/>
        <a:p>
          <a:endParaRPr lang="en-US"/>
        </a:p>
      </dgm:t>
    </dgm:pt>
    <dgm:pt modelId="{E78CBE30-35E2-4534-9BC1-609D1640C95B}" type="pres">
      <dgm:prSet presAssocID="{6D8719AD-FAE2-48C5-9A97-D30571B5B46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A02D8931-5A4F-44FE-888A-040E1A94A1D3}" type="pres">
      <dgm:prSet presAssocID="{6D8719AD-FAE2-48C5-9A97-D30571B5B465}" presName="Name1" presStyleCnt="0"/>
      <dgm:spPr/>
    </dgm:pt>
    <dgm:pt modelId="{689FCFFD-CBC0-4F9C-9017-778644080CA0}" type="pres">
      <dgm:prSet presAssocID="{6D8719AD-FAE2-48C5-9A97-D30571B5B465}" presName="cycle" presStyleCnt="0"/>
      <dgm:spPr/>
    </dgm:pt>
    <dgm:pt modelId="{8CE82349-FB35-4EBC-856E-6983445627CD}" type="pres">
      <dgm:prSet presAssocID="{6D8719AD-FAE2-48C5-9A97-D30571B5B465}" presName="srcNode" presStyleLbl="node1" presStyleIdx="0" presStyleCnt="4"/>
      <dgm:spPr/>
    </dgm:pt>
    <dgm:pt modelId="{B1571432-935F-418F-8EB1-EA1A43050BB1}" type="pres">
      <dgm:prSet presAssocID="{6D8719AD-FAE2-48C5-9A97-D30571B5B465}" presName="conn" presStyleLbl="parChTrans1D2" presStyleIdx="0" presStyleCnt="1"/>
      <dgm:spPr/>
      <dgm:t>
        <a:bodyPr/>
        <a:lstStyle/>
        <a:p>
          <a:endParaRPr lang="en-US"/>
        </a:p>
      </dgm:t>
    </dgm:pt>
    <dgm:pt modelId="{51FEC0AA-6CF7-4FFF-BA9A-C22EAB88A584}" type="pres">
      <dgm:prSet presAssocID="{6D8719AD-FAE2-48C5-9A97-D30571B5B465}" presName="extraNode" presStyleLbl="node1" presStyleIdx="0" presStyleCnt="4"/>
      <dgm:spPr/>
    </dgm:pt>
    <dgm:pt modelId="{755BC9EA-7F27-406B-9E59-9B374508A274}" type="pres">
      <dgm:prSet presAssocID="{6D8719AD-FAE2-48C5-9A97-D30571B5B465}" presName="dstNode" presStyleLbl="node1" presStyleIdx="0" presStyleCnt="4"/>
      <dgm:spPr/>
    </dgm:pt>
    <dgm:pt modelId="{056EF88F-9E94-4F03-8913-E60B0241E7EB}" type="pres">
      <dgm:prSet presAssocID="{2199C785-9D80-4900-B9B1-A03CCE52C8F1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111DAE-0C23-4178-8F38-6ED8CDC0A31D}" type="pres">
      <dgm:prSet presAssocID="{2199C785-9D80-4900-B9B1-A03CCE52C8F1}" presName="accent_1" presStyleCnt="0"/>
      <dgm:spPr/>
    </dgm:pt>
    <dgm:pt modelId="{732B63A8-7001-4434-BD69-554A51DC8A3C}" type="pres">
      <dgm:prSet presAssocID="{2199C785-9D80-4900-B9B1-A03CCE52C8F1}" presName="accentRepeatNode" presStyleLbl="solidFgAcc1" presStyleIdx="0" presStyleCnt="4"/>
      <dgm:spPr/>
    </dgm:pt>
    <dgm:pt modelId="{870F85EA-3EE6-4E25-A88F-5842DF781852}" type="pres">
      <dgm:prSet presAssocID="{BC125DDF-D3EA-4D34-AB20-01CD0A8D6C38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8E0692-E0A4-4911-B427-11048A58E057}" type="pres">
      <dgm:prSet presAssocID="{BC125DDF-D3EA-4D34-AB20-01CD0A8D6C38}" presName="accent_2" presStyleCnt="0"/>
      <dgm:spPr/>
    </dgm:pt>
    <dgm:pt modelId="{990128D4-9D68-43FE-B44C-02E4F512763B}" type="pres">
      <dgm:prSet presAssocID="{BC125DDF-D3EA-4D34-AB20-01CD0A8D6C38}" presName="accentRepeatNode" presStyleLbl="solidFgAcc1" presStyleIdx="1" presStyleCnt="4"/>
      <dgm:spPr/>
    </dgm:pt>
    <dgm:pt modelId="{E5DDF033-1C3F-44BE-99F0-3D544B41FD2B}" type="pres">
      <dgm:prSet presAssocID="{080C2F92-0E15-4733-B5B2-18163E55A8D8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97E933-2B46-408E-9BD2-A8C5C5CB2F5D}" type="pres">
      <dgm:prSet presAssocID="{080C2F92-0E15-4733-B5B2-18163E55A8D8}" presName="accent_3" presStyleCnt="0"/>
      <dgm:spPr/>
    </dgm:pt>
    <dgm:pt modelId="{A87DC7F0-8038-432B-BCBD-7A04E4029340}" type="pres">
      <dgm:prSet presAssocID="{080C2F92-0E15-4733-B5B2-18163E55A8D8}" presName="accentRepeatNode" presStyleLbl="solidFgAcc1" presStyleIdx="2" presStyleCnt="4"/>
      <dgm:spPr/>
    </dgm:pt>
    <dgm:pt modelId="{C6DBD24B-BA4E-423B-9E63-B7AD618CAD5A}" type="pres">
      <dgm:prSet presAssocID="{7C5D62CF-5720-47F9-9BA7-A8CD73AC086C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BF73CD9-02B9-4D78-8743-B425F81431C7}" type="pres">
      <dgm:prSet presAssocID="{7C5D62CF-5720-47F9-9BA7-A8CD73AC086C}" presName="accent_4" presStyleCnt="0"/>
      <dgm:spPr/>
    </dgm:pt>
    <dgm:pt modelId="{347EFA7E-7E44-4191-A7FB-58CF9E508FE2}" type="pres">
      <dgm:prSet presAssocID="{7C5D62CF-5720-47F9-9BA7-A8CD73AC086C}" presName="accentRepeatNode" presStyleLbl="solidFgAcc1" presStyleIdx="3" presStyleCnt="4"/>
      <dgm:spPr/>
    </dgm:pt>
  </dgm:ptLst>
  <dgm:cxnLst>
    <dgm:cxn modelId="{4FB18C4E-07BC-442A-BAA4-AFAD5A01C2C3}" type="presOf" srcId="{2C9D3B55-0535-4E04-B894-8E1FB80AF35C}" destId="{B1571432-935F-418F-8EB1-EA1A43050BB1}" srcOrd="0" destOrd="0" presId="urn:microsoft.com/office/officeart/2008/layout/VerticalCurvedList"/>
    <dgm:cxn modelId="{95FC8E82-DF0A-4C83-8617-FF2E983F357C}" type="presOf" srcId="{BC125DDF-D3EA-4D34-AB20-01CD0A8D6C38}" destId="{870F85EA-3EE6-4E25-A88F-5842DF781852}" srcOrd="0" destOrd="0" presId="urn:microsoft.com/office/officeart/2008/layout/VerticalCurvedList"/>
    <dgm:cxn modelId="{D57730D8-2D53-46DB-859C-825EE3B68C44}" srcId="{6D8719AD-FAE2-48C5-9A97-D30571B5B465}" destId="{080C2F92-0E15-4733-B5B2-18163E55A8D8}" srcOrd="2" destOrd="0" parTransId="{CEB98C9B-7DCF-4E39-9CFF-703FCB1F5EF8}" sibTransId="{9EFB18B8-96EB-468C-AAFF-A9F7514FA784}"/>
    <dgm:cxn modelId="{FE104C99-7F3B-4581-A95D-8DDBE170685F}" type="presOf" srcId="{6D8719AD-FAE2-48C5-9A97-D30571B5B465}" destId="{E78CBE30-35E2-4534-9BC1-609D1640C95B}" srcOrd="0" destOrd="0" presId="urn:microsoft.com/office/officeart/2008/layout/VerticalCurvedList"/>
    <dgm:cxn modelId="{64F829F8-50E2-446D-87BD-8FC2E6E103C6}" srcId="{6D8719AD-FAE2-48C5-9A97-D30571B5B465}" destId="{7C5D62CF-5720-47F9-9BA7-A8CD73AC086C}" srcOrd="3" destOrd="0" parTransId="{BE824924-26CA-4C02-A845-AC804DD34641}" sibTransId="{F459783D-20F0-44BA-A57F-05A606561A57}"/>
    <dgm:cxn modelId="{17D787D3-5A4B-4DEB-B939-E329EA5EEEF1}" type="presOf" srcId="{080C2F92-0E15-4733-B5B2-18163E55A8D8}" destId="{E5DDF033-1C3F-44BE-99F0-3D544B41FD2B}" srcOrd="0" destOrd="0" presId="urn:microsoft.com/office/officeart/2008/layout/VerticalCurvedList"/>
    <dgm:cxn modelId="{D47263A6-A020-4DB3-BE93-1442196ECE6E}" srcId="{6D8719AD-FAE2-48C5-9A97-D30571B5B465}" destId="{BC125DDF-D3EA-4D34-AB20-01CD0A8D6C38}" srcOrd="1" destOrd="0" parTransId="{A37FAAD5-5347-4067-87A6-A4275E94BC41}" sibTransId="{EE7B9361-BD62-48B1-869E-9131D9316505}"/>
    <dgm:cxn modelId="{6A4DF8F3-F612-4511-A968-A5CB7D0D1C17}" type="presOf" srcId="{2199C785-9D80-4900-B9B1-A03CCE52C8F1}" destId="{056EF88F-9E94-4F03-8913-E60B0241E7EB}" srcOrd="0" destOrd="0" presId="urn:microsoft.com/office/officeart/2008/layout/VerticalCurvedList"/>
    <dgm:cxn modelId="{3B5A08C5-80D5-41C0-8767-9C89B50DC877}" type="presOf" srcId="{7C5D62CF-5720-47F9-9BA7-A8CD73AC086C}" destId="{C6DBD24B-BA4E-423B-9E63-B7AD618CAD5A}" srcOrd="0" destOrd="0" presId="urn:microsoft.com/office/officeart/2008/layout/VerticalCurvedList"/>
    <dgm:cxn modelId="{F5F872EE-21E5-4F8C-B364-1DE100CD4EC2}" srcId="{6D8719AD-FAE2-48C5-9A97-D30571B5B465}" destId="{2199C785-9D80-4900-B9B1-A03CCE52C8F1}" srcOrd="0" destOrd="0" parTransId="{0B2615A8-049D-4412-84B3-0DBF771F3B16}" sibTransId="{2C9D3B55-0535-4E04-B894-8E1FB80AF35C}"/>
    <dgm:cxn modelId="{FA67C16A-9A64-4A8D-A8EF-60DE95532C89}" type="presParOf" srcId="{E78CBE30-35E2-4534-9BC1-609D1640C95B}" destId="{A02D8931-5A4F-44FE-888A-040E1A94A1D3}" srcOrd="0" destOrd="0" presId="urn:microsoft.com/office/officeart/2008/layout/VerticalCurvedList"/>
    <dgm:cxn modelId="{BD7A20ED-3200-463E-A965-1702FAD364E6}" type="presParOf" srcId="{A02D8931-5A4F-44FE-888A-040E1A94A1D3}" destId="{689FCFFD-CBC0-4F9C-9017-778644080CA0}" srcOrd="0" destOrd="0" presId="urn:microsoft.com/office/officeart/2008/layout/VerticalCurvedList"/>
    <dgm:cxn modelId="{BD73BFE9-79E5-4688-91B2-58FEA9F4FEF7}" type="presParOf" srcId="{689FCFFD-CBC0-4F9C-9017-778644080CA0}" destId="{8CE82349-FB35-4EBC-856E-6983445627CD}" srcOrd="0" destOrd="0" presId="urn:microsoft.com/office/officeart/2008/layout/VerticalCurvedList"/>
    <dgm:cxn modelId="{80C71591-5733-4C7B-BBEB-13C5815F1133}" type="presParOf" srcId="{689FCFFD-CBC0-4F9C-9017-778644080CA0}" destId="{B1571432-935F-418F-8EB1-EA1A43050BB1}" srcOrd="1" destOrd="0" presId="urn:microsoft.com/office/officeart/2008/layout/VerticalCurvedList"/>
    <dgm:cxn modelId="{E36C6BDA-0826-4F2F-B7CB-ACA089429527}" type="presParOf" srcId="{689FCFFD-CBC0-4F9C-9017-778644080CA0}" destId="{51FEC0AA-6CF7-4FFF-BA9A-C22EAB88A584}" srcOrd="2" destOrd="0" presId="urn:microsoft.com/office/officeart/2008/layout/VerticalCurvedList"/>
    <dgm:cxn modelId="{8A7D78F5-3B2D-4857-AF48-097F2FB3E419}" type="presParOf" srcId="{689FCFFD-CBC0-4F9C-9017-778644080CA0}" destId="{755BC9EA-7F27-406B-9E59-9B374508A274}" srcOrd="3" destOrd="0" presId="urn:microsoft.com/office/officeart/2008/layout/VerticalCurvedList"/>
    <dgm:cxn modelId="{C0B99F50-8091-4D4C-B61A-621B7550218D}" type="presParOf" srcId="{A02D8931-5A4F-44FE-888A-040E1A94A1D3}" destId="{056EF88F-9E94-4F03-8913-E60B0241E7EB}" srcOrd="1" destOrd="0" presId="urn:microsoft.com/office/officeart/2008/layout/VerticalCurvedList"/>
    <dgm:cxn modelId="{B356FD41-6E7C-45E5-898F-AB37C1753D5E}" type="presParOf" srcId="{A02D8931-5A4F-44FE-888A-040E1A94A1D3}" destId="{4D111DAE-0C23-4178-8F38-6ED8CDC0A31D}" srcOrd="2" destOrd="0" presId="urn:microsoft.com/office/officeart/2008/layout/VerticalCurvedList"/>
    <dgm:cxn modelId="{A09E7879-A92D-4A8E-A9B8-12F3674927B9}" type="presParOf" srcId="{4D111DAE-0C23-4178-8F38-6ED8CDC0A31D}" destId="{732B63A8-7001-4434-BD69-554A51DC8A3C}" srcOrd="0" destOrd="0" presId="urn:microsoft.com/office/officeart/2008/layout/VerticalCurvedList"/>
    <dgm:cxn modelId="{27E1E514-1ECF-436F-B97E-5C45DE1E8102}" type="presParOf" srcId="{A02D8931-5A4F-44FE-888A-040E1A94A1D3}" destId="{870F85EA-3EE6-4E25-A88F-5842DF781852}" srcOrd="3" destOrd="0" presId="urn:microsoft.com/office/officeart/2008/layout/VerticalCurvedList"/>
    <dgm:cxn modelId="{4B7BB635-6B49-44EE-888C-517E48E3ECBD}" type="presParOf" srcId="{A02D8931-5A4F-44FE-888A-040E1A94A1D3}" destId="{0F8E0692-E0A4-4911-B427-11048A58E057}" srcOrd="4" destOrd="0" presId="urn:microsoft.com/office/officeart/2008/layout/VerticalCurvedList"/>
    <dgm:cxn modelId="{0112B4DC-6CE2-4E49-B8A0-969581DDAA1B}" type="presParOf" srcId="{0F8E0692-E0A4-4911-B427-11048A58E057}" destId="{990128D4-9D68-43FE-B44C-02E4F512763B}" srcOrd="0" destOrd="0" presId="urn:microsoft.com/office/officeart/2008/layout/VerticalCurvedList"/>
    <dgm:cxn modelId="{077D5DE2-AFD0-4B58-A137-34FE76741E5F}" type="presParOf" srcId="{A02D8931-5A4F-44FE-888A-040E1A94A1D3}" destId="{E5DDF033-1C3F-44BE-99F0-3D544B41FD2B}" srcOrd="5" destOrd="0" presId="urn:microsoft.com/office/officeart/2008/layout/VerticalCurvedList"/>
    <dgm:cxn modelId="{5FC0FEE8-FBF4-4586-8EFC-2C83EB715C4B}" type="presParOf" srcId="{A02D8931-5A4F-44FE-888A-040E1A94A1D3}" destId="{8F97E933-2B46-408E-9BD2-A8C5C5CB2F5D}" srcOrd="6" destOrd="0" presId="urn:microsoft.com/office/officeart/2008/layout/VerticalCurvedList"/>
    <dgm:cxn modelId="{C4460753-2304-452A-9A4E-689B76A9C326}" type="presParOf" srcId="{8F97E933-2B46-408E-9BD2-A8C5C5CB2F5D}" destId="{A87DC7F0-8038-432B-BCBD-7A04E4029340}" srcOrd="0" destOrd="0" presId="urn:microsoft.com/office/officeart/2008/layout/VerticalCurvedList"/>
    <dgm:cxn modelId="{94B20AF5-FAF1-4388-861C-C8FFF07AAFBC}" type="presParOf" srcId="{A02D8931-5A4F-44FE-888A-040E1A94A1D3}" destId="{C6DBD24B-BA4E-423B-9E63-B7AD618CAD5A}" srcOrd="7" destOrd="0" presId="urn:microsoft.com/office/officeart/2008/layout/VerticalCurvedList"/>
    <dgm:cxn modelId="{6C327BFB-EA08-474F-B93F-28961CF1E8F0}" type="presParOf" srcId="{A02D8931-5A4F-44FE-888A-040E1A94A1D3}" destId="{0BF73CD9-02B9-4D78-8743-B425F81431C7}" srcOrd="8" destOrd="0" presId="urn:microsoft.com/office/officeart/2008/layout/VerticalCurvedList"/>
    <dgm:cxn modelId="{1C35BC89-E03B-4803-B2D4-BF0EE39C3413}" type="presParOf" srcId="{0BF73CD9-02B9-4D78-8743-B425F81431C7}" destId="{347EFA7E-7E44-4191-A7FB-58CF9E508FE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1916814-9871-45FE-B1A6-D5D3114B4603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352780F-BD57-4712-A602-739BB2165201}">
      <dgm:prSet phldrT="[Text]"/>
      <dgm:spPr>
        <a:solidFill>
          <a:schemeClr val="accent1">
            <a:hueOff val="0"/>
            <a:satOff val="0"/>
            <a:lumOff val="0"/>
          </a:schemeClr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Data Integration Tool</a:t>
          </a:r>
        </a:p>
      </dgm:t>
    </dgm:pt>
    <dgm:pt modelId="{1B57904E-892E-4B14-A0F1-4717D8089F8B}" type="parTrans" cxnId="{D1E6FFD6-7878-41DB-B0AD-EFEDA7D29418}">
      <dgm:prSet/>
      <dgm:spPr/>
      <dgm:t>
        <a:bodyPr/>
        <a:lstStyle/>
        <a:p>
          <a:endParaRPr lang="en-US"/>
        </a:p>
      </dgm:t>
    </dgm:pt>
    <dgm:pt modelId="{8FED1041-7654-40D0-85E5-B25DA7C42CFE}" type="sibTrans" cxnId="{D1E6FFD6-7878-41DB-B0AD-EFEDA7D29418}">
      <dgm:prSet/>
      <dgm:spPr/>
      <dgm:t>
        <a:bodyPr/>
        <a:lstStyle/>
        <a:p>
          <a:endParaRPr lang="en-US"/>
        </a:p>
      </dgm:t>
    </dgm:pt>
    <dgm:pt modelId="{57DE288E-C9DB-4217-90E7-3D3A4DC6D970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Access</a:t>
          </a:r>
          <a:endParaRPr lang="en-US" dirty="0">
            <a:solidFill>
              <a:schemeClr val="bg1"/>
            </a:solidFill>
          </a:endParaRPr>
        </a:p>
      </dgm:t>
    </dgm:pt>
    <dgm:pt modelId="{DB0C2722-9259-47A4-81AD-54D000AD4BB7}" type="parTrans" cxnId="{A2A9AC76-9977-447E-AF26-19BE88FBF9BB}">
      <dgm:prSet/>
      <dgm:spPr/>
      <dgm:t>
        <a:bodyPr/>
        <a:lstStyle/>
        <a:p>
          <a:endParaRPr lang="en-US"/>
        </a:p>
      </dgm:t>
    </dgm:pt>
    <dgm:pt modelId="{0BBA707D-E6AC-472A-92EB-B3F00434E555}" type="sibTrans" cxnId="{A2A9AC76-9977-447E-AF26-19BE88FBF9BB}">
      <dgm:prSet/>
      <dgm:spPr/>
      <dgm:t>
        <a:bodyPr/>
        <a:lstStyle/>
        <a:p>
          <a:endParaRPr lang="en-US"/>
        </a:p>
      </dgm:t>
    </dgm:pt>
    <dgm:pt modelId="{733DD954-CACA-4AD3-A4BC-63FFD66963B1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Discover</a:t>
          </a:r>
          <a:endParaRPr lang="en-US" dirty="0">
            <a:solidFill>
              <a:schemeClr val="bg1"/>
            </a:solidFill>
          </a:endParaRPr>
        </a:p>
      </dgm:t>
    </dgm:pt>
    <dgm:pt modelId="{E6E4CA92-7045-42DC-8784-722971385E78}" type="parTrans" cxnId="{EF9FA1E6-9B53-460E-8631-B87748D6F2E0}">
      <dgm:prSet/>
      <dgm:spPr/>
      <dgm:t>
        <a:bodyPr/>
        <a:lstStyle/>
        <a:p>
          <a:endParaRPr lang="en-US"/>
        </a:p>
      </dgm:t>
    </dgm:pt>
    <dgm:pt modelId="{7B0C81FB-72EC-43F4-A68D-B5A4459F5D9D}" type="sibTrans" cxnId="{EF9FA1E6-9B53-460E-8631-B87748D6F2E0}">
      <dgm:prSet/>
      <dgm:spPr/>
      <dgm:t>
        <a:bodyPr/>
        <a:lstStyle/>
        <a:p>
          <a:endParaRPr lang="en-US"/>
        </a:p>
      </dgm:t>
    </dgm:pt>
    <dgm:pt modelId="{DA1891CA-28DD-4DCB-BE4C-4CE0B057CB9B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Cleans</a:t>
          </a:r>
          <a:endParaRPr lang="en-US" dirty="0">
            <a:solidFill>
              <a:schemeClr val="bg1"/>
            </a:solidFill>
          </a:endParaRPr>
        </a:p>
      </dgm:t>
    </dgm:pt>
    <dgm:pt modelId="{2BEA85C9-B3B1-470F-B264-D5A2E3C0E7DE}" type="parTrans" cxnId="{86A78F04-026B-48EB-A9EB-F7E66E5C13FF}">
      <dgm:prSet/>
      <dgm:spPr/>
      <dgm:t>
        <a:bodyPr/>
        <a:lstStyle/>
        <a:p>
          <a:endParaRPr lang="en-US"/>
        </a:p>
      </dgm:t>
    </dgm:pt>
    <dgm:pt modelId="{F1B4363A-2577-4C6F-B180-651FBF916FB0}" type="sibTrans" cxnId="{86A78F04-026B-48EB-A9EB-F7E66E5C13FF}">
      <dgm:prSet/>
      <dgm:spPr/>
      <dgm:t>
        <a:bodyPr/>
        <a:lstStyle/>
        <a:p>
          <a:endParaRPr lang="en-US"/>
        </a:p>
      </dgm:t>
    </dgm:pt>
    <dgm:pt modelId="{A27799AA-5482-49D5-A93F-A2A84E3020D4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Integrate</a:t>
          </a:r>
          <a:endParaRPr lang="en-US" dirty="0">
            <a:solidFill>
              <a:schemeClr val="bg1"/>
            </a:solidFill>
          </a:endParaRPr>
        </a:p>
      </dgm:t>
    </dgm:pt>
    <dgm:pt modelId="{12BA9C00-43E8-4599-9592-B71D83C697C7}" type="parTrans" cxnId="{829DBBEF-B276-4D57-9AB3-CD28608FB748}">
      <dgm:prSet/>
      <dgm:spPr/>
      <dgm:t>
        <a:bodyPr/>
        <a:lstStyle/>
        <a:p>
          <a:endParaRPr lang="en-US"/>
        </a:p>
      </dgm:t>
    </dgm:pt>
    <dgm:pt modelId="{7420AD48-F5AF-4210-8EC0-8A16BAABCAA6}" type="sibTrans" cxnId="{829DBBEF-B276-4D57-9AB3-CD28608FB748}">
      <dgm:prSet/>
      <dgm:spPr/>
      <dgm:t>
        <a:bodyPr/>
        <a:lstStyle/>
        <a:p>
          <a:endParaRPr lang="en-US"/>
        </a:p>
      </dgm:t>
    </dgm:pt>
    <dgm:pt modelId="{C024CFC2-CF1E-41BD-886F-B1B04AFA1DE3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Deliver</a:t>
          </a:r>
          <a:endParaRPr lang="en-US" dirty="0">
            <a:solidFill>
              <a:schemeClr val="bg1"/>
            </a:solidFill>
          </a:endParaRPr>
        </a:p>
      </dgm:t>
    </dgm:pt>
    <dgm:pt modelId="{7D836AD4-9F93-49A7-BAFD-23C6F2D0EB30}" type="parTrans" cxnId="{5902DFC2-8C08-492D-A3D7-50790218B7C9}">
      <dgm:prSet/>
      <dgm:spPr/>
      <dgm:t>
        <a:bodyPr/>
        <a:lstStyle/>
        <a:p>
          <a:endParaRPr lang="en-US"/>
        </a:p>
      </dgm:t>
    </dgm:pt>
    <dgm:pt modelId="{FC6B111F-4BF5-4FC3-A70E-760831715CBC}" type="sibTrans" cxnId="{5902DFC2-8C08-492D-A3D7-50790218B7C9}">
      <dgm:prSet/>
      <dgm:spPr/>
      <dgm:t>
        <a:bodyPr/>
        <a:lstStyle/>
        <a:p>
          <a:endParaRPr lang="en-US"/>
        </a:p>
      </dgm:t>
    </dgm:pt>
    <dgm:pt modelId="{AF68FA41-349B-4E45-A1C2-E58B6B5A05B3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Develop &amp; Manage</a:t>
          </a:r>
          <a:endParaRPr lang="en-US" dirty="0">
            <a:solidFill>
              <a:schemeClr val="bg1"/>
            </a:solidFill>
          </a:endParaRPr>
        </a:p>
      </dgm:t>
    </dgm:pt>
    <dgm:pt modelId="{2F8B6EA0-9526-4661-A2AB-EB12CA0E38B0}" type="parTrans" cxnId="{01B10712-6D38-48F1-955D-0DA259A0F3A2}">
      <dgm:prSet/>
      <dgm:spPr/>
      <dgm:t>
        <a:bodyPr/>
        <a:lstStyle/>
        <a:p>
          <a:endParaRPr lang="en-US"/>
        </a:p>
      </dgm:t>
    </dgm:pt>
    <dgm:pt modelId="{E33AA2AC-9BED-4A7D-80F4-3283DB57BEC3}" type="sibTrans" cxnId="{01B10712-6D38-48F1-955D-0DA259A0F3A2}">
      <dgm:prSet/>
      <dgm:spPr/>
      <dgm:t>
        <a:bodyPr/>
        <a:lstStyle/>
        <a:p>
          <a:endParaRPr lang="en-US"/>
        </a:p>
      </dgm:t>
    </dgm:pt>
    <dgm:pt modelId="{95A62D36-D0DB-4BB0-A6EA-7733CD424E4F}">
      <dgm:prSet phldrT="[Text]"/>
      <dgm:spPr>
        <a:solidFill>
          <a:srgbClr val="464646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Audit, Monitor &amp; Report</a:t>
          </a:r>
          <a:endParaRPr lang="en-US" dirty="0">
            <a:solidFill>
              <a:schemeClr val="bg1"/>
            </a:solidFill>
          </a:endParaRPr>
        </a:p>
      </dgm:t>
    </dgm:pt>
    <dgm:pt modelId="{61CACD77-9A0F-4ADB-A5FD-4272D49BC2E1}" type="parTrans" cxnId="{59438189-F1BE-41A8-8631-0E706FB47366}">
      <dgm:prSet/>
      <dgm:spPr/>
      <dgm:t>
        <a:bodyPr/>
        <a:lstStyle/>
        <a:p>
          <a:endParaRPr lang="en-US"/>
        </a:p>
      </dgm:t>
    </dgm:pt>
    <dgm:pt modelId="{B3D610AA-7723-4B68-9634-D374211506D0}" type="sibTrans" cxnId="{59438189-F1BE-41A8-8631-0E706FB47366}">
      <dgm:prSet/>
      <dgm:spPr/>
      <dgm:t>
        <a:bodyPr/>
        <a:lstStyle/>
        <a:p>
          <a:endParaRPr lang="en-US"/>
        </a:p>
      </dgm:t>
    </dgm:pt>
    <dgm:pt modelId="{71658276-CF37-4503-A7D8-4275EB9D0F09}" type="pres">
      <dgm:prSet presAssocID="{E1916814-9871-45FE-B1A6-D5D3114B4603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2D04864-1A84-46E7-A5A1-7DEEA575622C}" type="pres">
      <dgm:prSet presAssocID="{E1916814-9871-45FE-B1A6-D5D3114B4603}" presName="radial" presStyleCnt="0">
        <dgm:presLayoutVars>
          <dgm:animLvl val="ctr"/>
        </dgm:presLayoutVars>
      </dgm:prSet>
      <dgm:spPr/>
    </dgm:pt>
    <dgm:pt modelId="{60AB652D-4924-4F35-8F52-7BDC900EBADB}" type="pres">
      <dgm:prSet presAssocID="{D352780F-BD57-4712-A602-739BB2165201}" presName="centerShape" presStyleLbl="vennNode1" presStyleIdx="0" presStyleCnt="8"/>
      <dgm:spPr/>
      <dgm:t>
        <a:bodyPr/>
        <a:lstStyle/>
        <a:p>
          <a:endParaRPr lang="en-US"/>
        </a:p>
      </dgm:t>
    </dgm:pt>
    <dgm:pt modelId="{B827B176-2B3F-41AC-8177-C05C83FB1509}" type="pres">
      <dgm:prSet presAssocID="{57DE288E-C9DB-4217-90E7-3D3A4DC6D970}" presName="node" presStyleLbl="venn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85BFF7-D8DB-486C-A68D-5FD593F728E4}" type="pres">
      <dgm:prSet presAssocID="{733DD954-CACA-4AD3-A4BC-63FFD66963B1}" presName="node" presStyleLbl="venn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24A924-4F35-4207-9857-4A6E755AD1A0}" type="pres">
      <dgm:prSet presAssocID="{DA1891CA-28DD-4DCB-BE4C-4CE0B057CB9B}" presName="node" presStyleLbl="venn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3811AE-796B-44E2-9090-EEE34026654A}" type="pres">
      <dgm:prSet presAssocID="{A27799AA-5482-49D5-A93F-A2A84E3020D4}" presName="node" presStyleLbl="venn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4D76BA9-C5BA-4A56-9A7F-081F2B973A20}" type="pres">
      <dgm:prSet presAssocID="{C024CFC2-CF1E-41BD-886F-B1B04AFA1DE3}" presName="node" presStyleLbl="venn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F19945-CF5A-40F5-935A-BC25313206D0}" type="pres">
      <dgm:prSet presAssocID="{AF68FA41-349B-4E45-A1C2-E58B6B5A05B3}" presName="node" presStyleLbl="venn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3AD813-B147-42EB-BECF-27E13528555A}" type="pres">
      <dgm:prSet presAssocID="{95A62D36-D0DB-4BB0-A6EA-7733CD424E4F}" presName="node" presStyleLbl="venn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A9AC76-9977-447E-AF26-19BE88FBF9BB}" srcId="{D352780F-BD57-4712-A602-739BB2165201}" destId="{57DE288E-C9DB-4217-90E7-3D3A4DC6D970}" srcOrd="0" destOrd="0" parTransId="{DB0C2722-9259-47A4-81AD-54D000AD4BB7}" sibTransId="{0BBA707D-E6AC-472A-92EB-B3F00434E555}"/>
    <dgm:cxn modelId="{A5765DD9-6C32-4AF6-9D51-DFE7A6741871}" type="presOf" srcId="{95A62D36-D0DB-4BB0-A6EA-7733CD424E4F}" destId="{BA3AD813-B147-42EB-BECF-27E13528555A}" srcOrd="0" destOrd="0" presId="urn:microsoft.com/office/officeart/2005/8/layout/radial3"/>
    <dgm:cxn modelId="{CA318683-FB90-4C90-AE04-93C6D31C89D9}" type="presOf" srcId="{DA1891CA-28DD-4DCB-BE4C-4CE0B057CB9B}" destId="{2E24A924-4F35-4207-9857-4A6E755AD1A0}" srcOrd="0" destOrd="0" presId="urn:microsoft.com/office/officeart/2005/8/layout/radial3"/>
    <dgm:cxn modelId="{D3F2AB5B-5C11-40A7-980F-07F9CC5DFB7B}" type="presOf" srcId="{AF68FA41-349B-4E45-A1C2-E58B6B5A05B3}" destId="{86F19945-CF5A-40F5-935A-BC25313206D0}" srcOrd="0" destOrd="0" presId="urn:microsoft.com/office/officeart/2005/8/layout/radial3"/>
    <dgm:cxn modelId="{5F6AA675-10C8-4C92-BB2E-BBB24153053F}" type="presOf" srcId="{733DD954-CACA-4AD3-A4BC-63FFD66963B1}" destId="{1A85BFF7-D8DB-486C-A68D-5FD593F728E4}" srcOrd="0" destOrd="0" presId="urn:microsoft.com/office/officeart/2005/8/layout/radial3"/>
    <dgm:cxn modelId="{790D5901-97C2-4BC9-B32B-56D84D0A14D2}" type="presOf" srcId="{57DE288E-C9DB-4217-90E7-3D3A4DC6D970}" destId="{B827B176-2B3F-41AC-8177-C05C83FB1509}" srcOrd="0" destOrd="0" presId="urn:microsoft.com/office/officeart/2005/8/layout/radial3"/>
    <dgm:cxn modelId="{D1E6FFD6-7878-41DB-B0AD-EFEDA7D29418}" srcId="{E1916814-9871-45FE-B1A6-D5D3114B4603}" destId="{D352780F-BD57-4712-A602-739BB2165201}" srcOrd="0" destOrd="0" parTransId="{1B57904E-892E-4B14-A0F1-4717D8089F8B}" sibTransId="{8FED1041-7654-40D0-85E5-B25DA7C42CFE}"/>
    <dgm:cxn modelId="{829DBBEF-B276-4D57-9AB3-CD28608FB748}" srcId="{D352780F-BD57-4712-A602-739BB2165201}" destId="{A27799AA-5482-49D5-A93F-A2A84E3020D4}" srcOrd="3" destOrd="0" parTransId="{12BA9C00-43E8-4599-9592-B71D83C697C7}" sibTransId="{7420AD48-F5AF-4210-8EC0-8A16BAABCAA6}"/>
    <dgm:cxn modelId="{EF9FA1E6-9B53-460E-8631-B87748D6F2E0}" srcId="{D352780F-BD57-4712-A602-739BB2165201}" destId="{733DD954-CACA-4AD3-A4BC-63FFD66963B1}" srcOrd="1" destOrd="0" parTransId="{E6E4CA92-7045-42DC-8784-722971385E78}" sibTransId="{7B0C81FB-72EC-43F4-A68D-B5A4459F5D9D}"/>
    <dgm:cxn modelId="{2D11A807-A525-462A-9BB8-9E93660260D5}" type="presOf" srcId="{A27799AA-5482-49D5-A93F-A2A84E3020D4}" destId="{523811AE-796B-44E2-9090-EEE34026654A}" srcOrd="0" destOrd="0" presId="urn:microsoft.com/office/officeart/2005/8/layout/radial3"/>
    <dgm:cxn modelId="{5902DFC2-8C08-492D-A3D7-50790218B7C9}" srcId="{D352780F-BD57-4712-A602-739BB2165201}" destId="{C024CFC2-CF1E-41BD-886F-B1B04AFA1DE3}" srcOrd="4" destOrd="0" parTransId="{7D836AD4-9F93-49A7-BAFD-23C6F2D0EB30}" sibTransId="{FC6B111F-4BF5-4FC3-A70E-760831715CBC}"/>
    <dgm:cxn modelId="{1849A293-9F16-403F-BED6-C60E556D3767}" type="presOf" srcId="{E1916814-9871-45FE-B1A6-D5D3114B4603}" destId="{71658276-CF37-4503-A7D8-4275EB9D0F09}" srcOrd="0" destOrd="0" presId="urn:microsoft.com/office/officeart/2005/8/layout/radial3"/>
    <dgm:cxn modelId="{0474E088-4621-41EB-A37F-4D0CCF28EE53}" type="presOf" srcId="{D352780F-BD57-4712-A602-739BB2165201}" destId="{60AB652D-4924-4F35-8F52-7BDC900EBADB}" srcOrd="0" destOrd="0" presId="urn:microsoft.com/office/officeart/2005/8/layout/radial3"/>
    <dgm:cxn modelId="{442B411A-B8B9-4D20-8578-A57471AD574A}" type="presOf" srcId="{C024CFC2-CF1E-41BD-886F-B1B04AFA1DE3}" destId="{74D76BA9-C5BA-4A56-9A7F-081F2B973A20}" srcOrd="0" destOrd="0" presId="urn:microsoft.com/office/officeart/2005/8/layout/radial3"/>
    <dgm:cxn modelId="{86A78F04-026B-48EB-A9EB-F7E66E5C13FF}" srcId="{D352780F-BD57-4712-A602-739BB2165201}" destId="{DA1891CA-28DD-4DCB-BE4C-4CE0B057CB9B}" srcOrd="2" destOrd="0" parTransId="{2BEA85C9-B3B1-470F-B264-D5A2E3C0E7DE}" sibTransId="{F1B4363A-2577-4C6F-B180-651FBF916FB0}"/>
    <dgm:cxn modelId="{59438189-F1BE-41A8-8631-0E706FB47366}" srcId="{D352780F-BD57-4712-A602-739BB2165201}" destId="{95A62D36-D0DB-4BB0-A6EA-7733CD424E4F}" srcOrd="6" destOrd="0" parTransId="{61CACD77-9A0F-4ADB-A5FD-4272D49BC2E1}" sibTransId="{B3D610AA-7723-4B68-9634-D374211506D0}"/>
    <dgm:cxn modelId="{01B10712-6D38-48F1-955D-0DA259A0F3A2}" srcId="{D352780F-BD57-4712-A602-739BB2165201}" destId="{AF68FA41-349B-4E45-A1C2-E58B6B5A05B3}" srcOrd="5" destOrd="0" parTransId="{2F8B6EA0-9526-4661-A2AB-EB12CA0E38B0}" sibTransId="{E33AA2AC-9BED-4A7D-80F4-3283DB57BEC3}"/>
    <dgm:cxn modelId="{7F5BF301-1617-4DA7-ACB4-9D1F7AF84C98}" type="presParOf" srcId="{71658276-CF37-4503-A7D8-4275EB9D0F09}" destId="{B2D04864-1A84-46E7-A5A1-7DEEA575622C}" srcOrd="0" destOrd="0" presId="urn:microsoft.com/office/officeart/2005/8/layout/radial3"/>
    <dgm:cxn modelId="{144495CC-0956-4303-B557-EE1D55E2B7FB}" type="presParOf" srcId="{B2D04864-1A84-46E7-A5A1-7DEEA575622C}" destId="{60AB652D-4924-4F35-8F52-7BDC900EBADB}" srcOrd="0" destOrd="0" presId="urn:microsoft.com/office/officeart/2005/8/layout/radial3"/>
    <dgm:cxn modelId="{76E9A483-6D69-4E85-9EF5-7C2ACA6E2619}" type="presParOf" srcId="{B2D04864-1A84-46E7-A5A1-7DEEA575622C}" destId="{B827B176-2B3F-41AC-8177-C05C83FB1509}" srcOrd="1" destOrd="0" presId="urn:microsoft.com/office/officeart/2005/8/layout/radial3"/>
    <dgm:cxn modelId="{91B46CB1-3878-4D8B-B40B-5F2B017DA59D}" type="presParOf" srcId="{B2D04864-1A84-46E7-A5A1-7DEEA575622C}" destId="{1A85BFF7-D8DB-486C-A68D-5FD593F728E4}" srcOrd="2" destOrd="0" presId="urn:microsoft.com/office/officeart/2005/8/layout/radial3"/>
    <dgm:cxn modelId="{40672AA6-0F6D-4BBA-919C-0D4595DA3226}" type="presParOf" srcId="{B2D04864-1A84-46E7-A5A1-7DEEA575622C}" destId="{2E24A924-4F35-4207-9857-4A6E755AD1A0}" srcOrd="3" destOrd="0" presId="urn:microsoft.com/office/officeart/2005/8/layout/radial3"/>
    <dgm:cxn modelId="{22BB6E38-BB55-407D-9F79-2F03FC4C22D5}" type="presParOf" srcId="{B2D04864-1A84-46E7-A5A1-7DEEA575622C}" destId="{523811AE-796B-44E2-9090-EEE34026654A}" srcOrd="4" destOrd="0" presId="urn:microsoft.com/office/officeart/2005/8/layout/radial3"/>
    <dgm:cxn modelId="{96E1C8AA-CA8D-4782-8CF3-6A82CF5A0463}" type="presParOf" srcId="{B2D04864-1A84-46E7-A5A1-7DEEA575622C}" destId="{74D76BA9-C5BA-4A56-9A7F-081F2B973A20}" srcOrd="5" destOrd="0" presId="urn:microsoft.com/office/officeart/2005/8/layout/radial3"/>
    <dgm:cxn modelId="{9E00394A-3529-49CA-8F3A-9D26A314595F}" type="presParOf" srcId="{B2D04864-1A84-46E7-A5A1-7DEEA575622C}" destId="{86F19945-CF5A-40F5-935A-BC25313206D0}" srcOrd="6" destOrd="0" presId="urn:microsoft.com/office/officeart/2005/8/layout/radial3"/>
    <dgm:cxn modelId="{CCD34D04-DE86-404D-B8F0-23CF53910BAE}" type="presParOf" srcId="{B2D04864-1A84-46E7-A5A1-7DEEA575622C}" destId="{BA3AD813-B147-42EB-BECF-27E13528555A}" srcOrd="7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4E1530-07A6-458C-8F46-AB5063CAD8B6}">
      <dsp:nvSpPr>
        <dsp:cNvPr id="0" name=""/>
        <dsp:cNvSpPr/>
      </dsp:nvSpPr>
      <dsp:spPr>
        <a:xfrm>
          <a:off x="3863" y="325156"/>
          <a:ext cx="1818269" cy="701851"/>
        </a:xfrm>
        <a:prstGeom prst="chevron">
          <a:avLst>
            <a:gd name="adj" fmla="val 4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D24899-FB5A-4E06-8CE6-0256ED38B7AE}">
      <dsp:nvSpPr>
        <dsp:cNvPr id="0" name=""/>
        <dsp:cNvSpPr/>
      </dsp:nvSpPr>
      <dsp:spPr>
        <a:xfrm>
          <a:off x="488734" y="500619"/>
          <a:ext cx="1535427" cy="7018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ata </a:t>
          </a:r>
          <a:endParaRPr lang="en-US" sz="1600" kern="1200" dirty="0"/>
        </a:p>
      </dsp:txBody>
      <dsp:txXfrm>
        <a:off x="509291" y="521176"/>
        <a:ext cx="1494313" cy="660737"/>
      </dsp:txXfrm>
    </dsp:sp>
    <dsp:sp modelId="{6514C56A-2FE1-49B9-B2F6-FAEFE4DAF5E2}">
      <dsp:nvSpPr>
        <dsp:cNvPr id="0" name=""/>
        <dsp:cNvSpPr/>
      </dsp:nvSpPr>
      <dsp:spPr>
        <a:xfrm>
          <a:off x="2080730" y="325156"/>
          <a:ext cx="1818269" cy="701851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722AA8-39A6-4DA0-90D9-046A899E1E8B}">
      <dsp:nvSpPr>
        <dsp:cNvPr id="0" name=""/>
        <dsp:cNvSpPr/>
      </dsp:nvSpPr>
      <dsp:spPr>
        <a:xfrm>
          <a:off x="2565602" y="500619"/>
          <a:ext cx="1535427" cy="7018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ym typeface="Wingdings" panose="05000000000000000000" pitchFamily="2" charset="2"/>
            </a:rPr>
            <a:t>Information </a:t>
          </a:r>
          <a:endParaRPr lang="en-US" sz="1600" kern="1200" dirty="0"/>
        </a:p>
      </dsp:txBody>
      <dsp:txXfrm>
        <a:off x="2586159" y="521176"/>
        <a:ext cx="1494313" cy="660737"/>
      </dsp:txXfrm>
    </dsp:sp>
    <dsp:sp modelId="{5BA7B64A-8B7B-4552-A225-C2C99094A8CA}">
      <dsp:nvSpPr>
        <dsp:cNvPr id="0" name=""/>
        <dsp:cNvSpPr/>
      </dsp:nvSpPr>
      <dsp:spPr>
        <a:xfrm>
          <a:off x="4157598" y="325156"/>
          <a:ext cx="1818269" cy="701851"/>
        </a:xfrm>
        <a:prstGeom prst="chevron">
          <a:avLst>
            <a:gd name="adj" fmla="val 4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DF411D-CC8A-4999-8DFD-45B0A34B16A2}">
      <dsp:nvSpPr>
        <dsp:cNvPr id="0" name=""/>
        <dsp:cNvSpPr/>
      </dsp:nvSpPr>
      <dsp:spPr>
        <a:xfrm>
          <a:off x="4642469" y="500619"/>
          <a:ext cx="1535427" cy="7018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ym typeface="Wingdings" panose="05000000000000000000" pitchFamily="2" charset="2"/>
            </a:rPr>
            <a:t>Insight </a:t>
          </a:r>
          <a:endParaRPr lang="en-US" sz="1600" kern="1200" dirty="0"/>
        </a:p>
      </dsp:txBody>
      <dsp:txXfrm>
        <a:off x="4663026" y="521176"/>
        <a:ext cx="1494313" cy="660737"/>
      </dsp:txXfrm>
    </dsp:sp>
    <dsp:sp modelId="{71E44F26-01DD-42C4-9A27-0F4EDA6BF84B}">
      <dsp:nvSpPr>
        <dsp:cNvPr id="0" name=""/>
        <dsp:cNvSpPr/>
      </dsp:nvSpPr>
      <dsp:spPr>
        <a:xfrm>
          <a:off x="6234465" y="325156"/>
          <a:ext cx="1818269" cy="701851"/>
        </a:xfrm>
        <a:prstGeom prst="chevron">
          <a:avLst>
            <a:gd name="adj" fmla="val 4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548700-EC85-4924-ACF3-40849C844FCD}">
      <dsp:nvSpPr>
        <dsp:cNvPr id="0" name=""/>
        <dsp:cNvSpPr/>
      </dsp:nvSpPr>
      <dsp:spPr>
        <a:xfrm>
          <a:off x="6719337" y="500619"/>
          <a:ext cx="1535427" cy="7018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ym typeface="Wingdings" panose="05000000000000000000" pitchFamily="2" charset="2"/>
            </a:rPr>
            <a:t>Action</a:t>
          </a:r>
          <a:endParaRPr lang="en-US" sz="1600" kern="1200" dirty="0"/>
        </a:p>
      </dsp:txBody>
      <dsp:txXfrm>
        <a:off x="6739894" y="521176"/>
        <a:ext cx="1494313" cy="6607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0F8AB1-C6EC-46FA-86B6-5A67043326CD}">
      <dsp:nvSpPr>
        <dsp:cNvPr id="0" name=""/>
        <dsp:cNvSpPr/>
      </dsp:nvSpPr>
      <dsp:spPr>
        <a:xfrm>
          <a:off x="1404620" y="165099"/>
          <a:ext cx="3276600" cy="1137920"/>
        </a:xfrm>
        <a:prstGeom prst="ellipse">
          <a:avLst/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6AB5EB-2F0F-4D0F-96E9-F8145F68AE06}">
      <dsp:nvSpPr>
        <dsp:cNvPr id="0" name=""/>
        <dsp:cNvSpPr/>
      </dsp:nvSpPr>
      <dsp:spPr>
        <a:xfrm>
          <a:off x="2730500" y="2951479"/>
          <a:ext cx="635000" cy="406400"/>
        </a:xfrm>
        <a:prstGeom prst="downArrow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CCB42A-FE9E-4747-BE46-830A9D72BF6D}">
      <dsp:nvSpPr>
        <dsp:cNvPr id="0" name=""/>
        <dsp:cNvSpPr/>
      </dsp:nvSpPr>
      <dsp:spPr>
        <a:xfrm>
          <a:off x="1524000" y="3276600"/>
          <a:ext cx="3048000" cy="762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Master Data</a:t>
          </a:r>
          <a:endParaRPr lang="en-US" sz="2700" kern="1200" dirty="0"/>
        </a:p>
      </dsp:txBody>
      <dsp:txXfrm>
        <a:off x="1524000" y="3276600"/>
        <a:ext cx="3048000" cy="762000"/>
      </dsp:txXfrm>
    </dsp:sp>
    <dsp:sp modelId="{D0921E2D-B7DB-4258-B5A5-C8EE7DA5B390}">
      <dsp:nvSpPr>
        <dsp:cNvPr id="0" name=""/>
        <dsp:cNvSpPr/>
      </dsp:nvSpPr>
      <dsp:spPr>
        <a:xfrm>
          <a:off x="2595880" y="1390904"/>
          <a:ext cx="1143000" cy="1143000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Source C</a:t>
          </a:r>
          <a:endParaRPr lang="en-US" sz="1700" kern="1200" dirty="0"/>
        </a:p>
      </dsp:txBody>
      <dsp:txXfrm>
        <a:off x="2763268" y="1558292"/>
        <a:ext cx="808224" cy="808224"/>
      </dsp:txXfrm>
    </dsp:sp>
    <dsp:sp modelId="{9D811D37-6C78-481A-A488-BD2EC55174E6}">
      <dsp:nvSpPr>
        <dsp:cNvPr id="0" name=""/>
        <dsp:cNvSpPr/>
      </dsp:nvSpPr>
      <dsp:spPr>
        <a:xfrm>
          <a:off x="1778000" y="533399"/>
          <a:ext cx="1143000" cy="1143000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Source A</a:t>
          </a:r>
          <a:endParaRPr lang="en-US" sz="1700" kern="1200" dirty="0"/>
        </a:p>
      </dsp:txBody>
      <dsp:txXfrm>
        <a:off x="1945388" y="700787"/>
        <a:ext cx="808224" cy="808224"/>
      </dsp:txXfrm>
    </dsp:sp>
    <dsp:sp modelId="{92FCF63E-6030-4DD2-8D67-0E98DD842075}">
      <dsp:nvSpPr>
        <dsp:cNvPr id="0" name=""/>
        <dsp:cNvSpPr/>
      </dsp:nvSpPr>
      <dsp:spPr>
        <a:xfrm>
          <a:off x="2946400" y="257047"/>
          <a:ext cx="1143000" cy="1143000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Source B</a:t>
          </a:r>
          <a:endParaRPr lang="en-US" sz="1700" kern="1200" dirty="0"/>
        </a:p>
      </dsp:txBody>
      <dsp:txXfrm>
        <a:off x="3113788" y="424435"/>
        <a:ext cx="808224" cy="808224"/>
      </dsp:txXfrm>
    </dsp:sp>
    <dsp:sp modelId="{7A11FFB7-E459-4B95-97E9-F4E692477D04}">
      <dsp:nvSpPr>
        <dsp:cNvPr id="0" name=""/>
        <dsp:cNvSpPr/>
      </dsp:nvSpPr>
      <dsp:spPr>
        <a:xfrm>
          <a:off x="1270000" y="25399"/>
          <a:ext cx="3556000" cy="2844800"/>
        </a:xfrm>
        <a:prstGeom prst="funnel">
          <a:avLst/>
        </a:prstGeom>
        <a:solidFill>
          <a:schemeClr val="bg2">
            <a:alpha val="4000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71432-935F-418F-8EB1-EA1A43050BB1}">
      <dsp:nvSpPr>
        <dsp:cNvPr id="0" name=""/>
        <dsp:cNvSpPr/>
      </dsp:nvSpPr>
      <dsp:spPr>
        <a:xfrm>
          <a:off x="-4731660" y="-787415"/>
          <a:ext cx="6121431" cy="6121431"/>
        </a:xfrm>
        <a:prstGeom prst="blockArc">
          <a:avLst>
            <a:gd name="adj1" fmla="val 18900000"/>
            <a:gd name="adj2" fmla="val 2700000"/>
            <a:gd name="adj3" fmla="val 353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C50F75-F718-44BF-A030-638EB38AB518}">
      <dsp:nvSpPr>
        <dsp:cNvPr id="0" name=""/>
        <dsp:cNvSpPr/>
      </dsp:nvSpPr>
      <dsp:spPr>
        <a:xfrm>
          <a:off x="1348024" y="1194880"/>
          <a:ext cx="5994389" cy="215683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4432" tIns="129540" rIns="129540" bIns="129540" numCol="1" spcCol="1270" anchor="ctr" anchorCtr="0">
          <a:noAutofit/>
        </a:bodyPr>
        <a:lstStyle/>
        <a:p>
          <a:pPr lvl="0" algn="l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100" kern="1200" dirty="0" smtClean="0"/>
            <a:t>Dimensional Modeling</a:t>
          </a:r>
          <a:endParaRPr lang="en-US" sz="5100" kern="1200" dirty="0"/>
        </a:p>
      </dsp:txBody>
      <dsp:txXfrm>
        <a:off x="1348024" y="1194880"/>
        <a:ext cx="5994389" cy="2156839"/>
      </dsp:txXfrm>
    </dsp:sp>
    <dsp:sp modelId="{0B61A90B-997E-4CEF-8930-D8FD01DF341B}">
      <dsp:nvSpPr>
        <dsp:cNvPr id="0" name=""/>
        <dsp:cNvSpPr/>
      </dsp:nvSpPr>
      <dsp:spPr>
        <a:xfrm>
          <a:off x="0" y="925276"/>
          <a:ext cx="2696048" cy="26960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4FA528-8E07-4256-91F0-CA564EABA3C9}">
      <dsp:nvSpPr>
        <dsp:cNvPr id="0" name=""/>
        <dsp:cNvSpPr/>
      </dsp:nvSpPr>
      <dsp:spPr>
        <a:xfrm>
          <a:off x="1663917" y="1083909"/>
          <a:ext cx="656268" cy="65626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Population</a:t>
          </a:r>
          <a:endParaRPr lang="he-IL" sz="600" kern="1200" dirty="0"/>
        </a:p>
      </dsp:txBody>
      <dsp:txXfrm>
        <a:off x="1760025" y="1180017"/>
        <a:ext cx="464052" cy="464052"/>
      </dsp:txXfrm>
    </dsp:sp>
    <dsp:sp modelId="{FD8E2E9D-D6BB-482C-AC49-C8F0F938D98B}">
      <dsp:nvSpPr>
        <dsp:cNvPr id="0" name=""/>
        <dsp:cNvSpPr/>
      </dsp:nvSpPr>
      <dsp:spPr>
        <a:xfrm rot="16200000">
          <a:off x="1921840" y="843844"/>
          <a:ext cx="140422" cy="2231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500" kern="1200"/>
        </a:p>
      </dsp:txBody>
      <dsp:txXfrm>
        <a:off x="1942904" y="909534"/>
        <a:ext cx="98295" cy="133879"/>
      </dsp:txXfrm>
    </dsp:sp>
    <dsp:sp modelId="{673FB63E-B211-48D8-A778-F39E0824A466}">
      <dsp:nvSpPr>
        <dsp:cNvPr id="0" name=""/>
        <dsp:cNvSpPr/>
      </dsp:nvSpPr>
      <dsp:spPr>
        <a:xfrm>
          <a:off x="1584447" y="3753"/>
          <a:ext cx="815208" cy="81520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600" kern="1200" dirty="0"/>
        </a:p>
      </dsp:txBody>
      <dsp:txXfrm>
        <a:off x="1703831" y="123137"/>
        <a:ext cx="576440" cy="576440"/>
      </dsp:txXfrm>
    </dsp:sp>
    <dsp:sp modelId="{A1295EA3-2C2B-423C-94EC-39CD6C97B8EC}">
      <dsp:nvSpPr>
        <dsp:cNvPr id="0" name=""/>
        <dsp:cNvSpPr/>
      </dsp:nvSpPr>
      <dsp:spPr>
        <a:xfrm>
          <a:off x="2378474" y="1300478"/>
          <a:ext cx="140422" cy="2231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500" kern="1200"/>
        </a:p>
      </dsp:txBody>
      <dsp:txXfrm>
        <a:off x="2378474" y="1345104"/>
        <a:ext cx="98295" cy="133879"/>
      </dsp:txXfrm>
    </dsp:sp>
    <dsp:sp modelId="{0DD002ED-F913-44A4-AA7F-792DBD7CFCB1}">
      <dsp:nvSpPr>
        <dsp:cNvPr id="0" name=""/>
        <dsp:cNvSpPr/>
      </dsp:nvSpPr>
      <dsp:spPr>
        <a:xfrm>
          <a:off x="2585134" y="1004439"/>
          <a:ext cx="815208" cy="81520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Time</a:t>
          </a:r>
          <a:endParaRPr lang="he-IL" sz="600" kern="1200" dirty="0"/>
        </a:p>
      </dsp:txBody>
      <dsp:txXfrm>
        <a:off x="2704518" y="1123823"/>
        <a:ext cx="576440" cy="576440"/>
      </dsp:txXfrm>
    </dsp:sp>
    <dsp:sp modelId="{D636C3C9-B01F-4285-9613-C5A7ECF8389B}">
      <dsp:nvSpPr>
        <dsp:cNvPr id="0" name=""/>
        <dsp:cNvSpPr/>
      </dsp:nvSpPr>
      <dsp:spPr>
        <a:xfrm rot="5400000">
          <a:off x="1921840" y="1757112"/>
          <a:ext cx="140422" cy="2231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500" kern="1200"/>
        </a:p>
      </dsp:txBody>
      <dsp:txXfrm>
        <a:off x="1942904" y="1780675"/>
        <a:ext cx="98295" cy="133879"/>
      </dsp:txXfrm>
    </dsp:sp>
    <dsp:sp modelId="{6FEE0992-CC20-4697-9157-D4C5313A2B1E}">
      <dsp:nvSpPr>
        <dsp:cNvPr id="0" name=""/>
        <dsp:cNvSpPr/>
      </dsp:nvSpPr>
      <dsp:spPr>
        <a:xfrm>
          <a:off x="1584447" y="2005126"/>
          <a:ext cx="815208" cy="81520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Location</a:t>
          </a:r>
          <a:endParaRPr lang="he-IL" sz="600" kern="1200" dirty="0"/>
        </a:p>
      </dsp:txBody>
      <dsp:txXfrm>
        <a:off x="1703831" y="2124510"/>
        <a:ext cx="576440" cy="576440"/>
      </dsp:txXfrm>
    </dsp:sp>
    <dsp:sp modelId="{CC93AC72-F046-4065-B02B-B4DD5010BE79}">
      <dsp:nvSpPr>
        <dsp:cNvPr id="0" name=""/>
        <dsp:cNvSpPr/>
      </dsp:nvSpPr>
      <dsp:spPr>
        <a:xfrm rot="10800000">
          <a:off x="1465206" y="1300478"/>
          <a:ext cx="140422" cy="2231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500" kern="1200"/>
        </a:p>
      </dsp:txBody>
      <dsp:txXfrm rot="10800000">
        <a:off x="1507333" y="1345104"/>
        <a:ext cx="98295" cy="133879"/>
      </dsp:txXfrm>
    </dsp:sp>
    <dsp:sp modelId="{CE759648-DA01-4409-BF9D-DFE7E1E050E8}">
      <dsp:nvSpPr>
        <dsp:cNvPr id="0" name=""/>
        <dsp:cNvSpPr/>
      </dsp:nvSpPr>
      <dsp:spPr>
        <a:xfrm>
          <a:off x="583761" y="1004439"/>
          <a:ext cx="815208" cy="815208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Demography</a:t>
          </a:r>
          <a:endParaRPr lang="he-IL" sz="600" kern="1200" dirty="0"/>
        </a:p>
      </dsp:txBody>
      <dsp:txXfrm>
        <a:off x="703145" y="1123823"/>
        <a:ext cx="576440" cy="57644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4FA528-8E07-4256-91F0-CA564EABA3C9}">
      <dsp:nvSpPr>
        <dsp:cNvPr id="0" name=""/>
        <dsp:cNvSpPr/>
      </dsp:nvSpPr>
      <dsp:spPr>
        <a:xfrm>
          <a:off x="1664045" y="1084037"/>
          <a:ext cx="656012" cy="65601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Rainfall</a:t>
          </a:r>
          <a:endParaRPr lang="he-IL" sz="900" kern="1200" dirty="0"/>
        </a:p>
      </dsp:txBody>
      <dsp:txXfrm>
        <a:off x="1760116" y="1180108"/>
        <a:ext cx="463870" cy="463870"/>
      </dsp:txXfrm>
    </dsp:sp>
    <dsp:sp modelId="{FD8E2E9D-D6BB-482C-AC49-C8F0F938D98B}">
      <dsp:nvSpPr>
        <dsp:cNvPr id="0" name=""/>
        <dsp:cNvSpPr/>
      </dsp:nvSpPr>
      <dsp:spPr>
        <a:xfrm rot="16200000">
          <a:off x="1921913" y="874564"/>
          <a:ext cx="140276" cy="16221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600" kern="1200"/>
        </a:p>
      </dsp:txBody>
      <dsp:txXfrm>
        <a:off x="1942955" y="928049"/>
        <a:ext cx="98193" cy="97328"/>
      </dsp:txXfrm>
    </dsp:sp>
    <dsp:sp modelId="{673FB63E-B211-48D8-A778-F39E0824A466}">
      <dsp:nvSpPr>
        <dsp:cNvPr id="0" name=""/>
        <dsp:cNvSpPr/>
      </dsp:nvSpPr>
      <dsp:spPr>
        <a:xfrm>
          <a:off x="1584606" y="4474"/>
          <a:ext cx="814891" cy="814891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600" kern="1200" dirty="0"/>
        </a:p>
      </dsp:txBody>
      <dsp:txXfrm>
        <a:off x="1703944" y="123812"/>
        <a:ext cx="576215" cy="576215"/>
      </dsp:txXfrm>
    </dsp:sp>
    <dsp:sp modelId="{A1295EA3-2C2B-423C-94EC-39CD6C97B8EC}">
      <dsp:nvSpPr>
        <dsp:cNvPr id="0" name=""/>
        <dsp:cNvSpPr/>
      </dsp:nvSpPr>
      <dsp:spPr>
        <a:xfrm>
          <a:off x="2378286" y="1330936"/>
          <a:ext cx="140276" cy="16221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600" kern="1200"/>
        </a:p>
      </dsp:txBody>
      <dsp:txXfrm>
        <a:off x="2378286" y="1363379"/>
        <a:ext cx="98193" cy="97328"/>
      </dsp:txXfrm>
    </dsp:sp>
    <dsp:sp modelId="{0DD002ED-F913-44A4-AA7F-792DBD7CFCB1}">
      <dsp:nvSpPr>
        <dsp:cNvPr id="0" name=""/>
        <dsp:cNvSpPr/>
      </dsp:nvSpPr>
      <dsp:spPr>
        <a:xfrm>
          <a:off x="2584730" y="1004598"/>
          <a:ext cx="814891" cy="81489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Barometrical</a:t>
          </a:r>
          <a:endParaRPr lang="he-IL" sz="600" kern="1200" dirty="0"/>
        </a:p>
      </dsp:txBody>
      <dsp:txXfrm>
        <a:off x="2704068" y="1123936"/>
        <a:ext cx="576215" cy="576215"/>
      </dsp:txXfrm>
    </dsp:sp>
    <dsp:sp modelId="{D636C3C9-B01F-4285-9613-C5A7ECF8389B}">
      <dsp:nvSpPr>
        <dsp:cNvPr id="0" name=""/>
        <dsp:cNvSpPr/>
      </dsp:nvSpPr>
      <dsp:spPr>
        <a:xfrm rot="5400000">
          <a:off x="1921913" y="1787309"/>
          <a:ext cx="140276" cy="162214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600" kern="1200"/>
        </a:p>
      </dsp:txBody>
      <dsp:txXfrm>
        <a:off x="1942955" y="1798711"/>
        <a:ext cx="98193" cy="97328"/>
      </dsp:txXfrm>
    </dsp:sp>
    <dsp:sp modelId="{6FEE0992-CC20-4697-9157-D4C5313A2B1E}">
      <dsp:nvSpPr>
        <dsp:cNvPr id="0" name=""/>
        <dsp:cNvSpPr/>
      </dsp:nvSpPr>
      <dsp:spPr>
        <a:xfrm>
          <a:off x="1584606" y="2004722"/>
          <a:ext cx="814891" cy="814891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Weather</a:t>
          </a:r>
          <a:endParaRPr lang="he-IL" sz="600" kern="1200" dirty="0"/>
        </a:p>
      </dsp:txBody>
      <dsp:txXfrm>
        <a:off x="1703944" y="2124060"/>
        <a:ext cx="576215" cy="576215"/>
      </dsp:txXfrm>
    </dsp:sp>
    <dsp:sp modelId="{CC93AC72-F046-4065-B02B-B4DD5010BE79}">
      <dsp:nvSpPr>
        <dsp:cNvPr id="0" name=""/>
        <dsp:cNvSpPr/>
      </dsp:nvSpPr>
      <dsp:spPr>
        <a:xfrm rot="10800000">
          <a:off x="1465541" y="1330936"/>
          <a:ext cx="140276" cy="162214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600" kern="1200"/>
        </a:p>
      </dsp:txBody>
      <dsp:txXfrm rot="10800000">
        <a:off x="1507624" y="1363379"/>
        <a:ext cx="98193" cy="97328"/>
      </dsp:txXfrm>
    </dsp:sp>
    <dsp:sp modelId="{CE759648-DA01-4409-BF9D-DFE7E1E050E8}">
      <dsp:nvSpPr>
        <dsp:cNvPr id="0" name=""/>
        <dsp:cNvSpPr/>
      </dsp:nvSpPr>
      <dsp:spPr>
        <a:xfrm>
          <a:off x="584482" y="1004598"/>
          <a:ext cx="814891" cy="81489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Time</a:t>
          </a:r>
          <a:endParaRPr lang="he-IL" sz="600" kern="1200" dirty="0"/>
        </a:p>
      </dsp:txBody>
      <dsp:txXfrm>
        <a:off x="703820" y="1123936"/>
        <a:ext cx="576215" cy="57621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4FA528-8E07-4256-91F0-CA564EABA3C9}">
      <dsp:nvSpPr>
        <dsp:cNvPr id="0" name=""/>
        <dsp:cNvSpPr/>
      </dsp:nvSpPr>
      <dsp:spPr>
        <a:xfrm>
          <a:off x="1664066" y="1084058"/>
          <a:ext cx="655971" cy="65597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orm</a:t>
          </a:r>
          <a:endParaRPr lang="he-IL" sz="1100" kern="1200" dirty="0"/>
        </a:p>
      </dsp:txBody>
      <dsp:txXfrm>
        <a:off x="1760131" y="1180123"/>
        <a:ext cx="463841" cy="463841"/>
      </dsp:txXfrm>
    </dsp:sp>
    <dsp:sp modelId="{FD8E2E9D-D6BB-482C-AC49-C8F0F938D98B}">
      <dsp:nvSpPr>
        <dsp:cNvPr id="0" name=""/>
        <dsp:cNvSpPr/>
      </dsp:nvSpPr>
      <dsp:spPr>
        <a:xfrm rot="16200000">
          <a:off x="1922424" y="869484"/>
          <a:ext cx="139254" cy="17428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700" kern="1200"/>
        </a:p>
      </dsp:txBody>
      <dsp:txXfrm>
        <a:off x="1943312" y="925229"/>
        <a:ext cx="97478" cy="104571"/>
      </dsp:txXfrm>
    </dsp:sp>
    <dsp:sp modelId="{673FB63E-B211-48D8-A778-F39E0824A466}">
      <dsp:nvSpPr>
        <dsp:cNvPr id="0" name=""/>
        <dsp:cNvSpPr/>
      </dsp:nvSpPr>
      <dsp:spPr>
        <a:xfrm>
          <a:off x="1582069" y="1348"/>
          <a:ext cx="819964" cy="81996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Time</a:t>
          </a:r>
          <a:endParaRPr lang="he-IL" sz="800" kern="1200" dirty="0"/>
        </a:p>
      </dsp:txBody>
      <dsp:txXfrm>
        <a:off x="1702150" y="121429"/>
        <a:ext cx="579802" cy="579802"/>
      </dsp:txXfrm>
    </dsp:sp>
    <dsp:sp modelId="{A1295EA3-2C2B-423C-94EC-39CD6C97B8EC}">
      <dsp:nvSpPr>
        <dsp:cNvPr id="0" name=""/>
        <dsp:cNvSpPr/>
      </dsp:nvSpPr>
      <dsp:spPr>
        <a:xfrm>
          <a:off x="2377841" y="1324901"/>
          <a:ext cx="139254" cy="17428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700" kern="1200"/>
        </a:p>
      </dsp:txBody>
      <dsp:txXfrm>
        <a:off x="2377841" y="1359758"/>
        <a:ext cx="97478" cy="104571"/>
      </dsp:txXfrm>
    </dsp:sp>
    <dsp:sp modelId="{0DD002ED-F913-44A4-AA7F-792DBD7CFCB1}">
      <dsp:nvSpPr>
        <dsp:cNvPr id="0" name=""/>
        <dsp:cNvSpPr/>
      </dsp:nvSpPr>
      <dsp:spPr>
        <a:xfrm>
          <a:off x="2582782" y="1002061"/>
          <a:ext cx="819964" cy="819964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Weather</a:t>
          </a:r>
          <a:endParaRPr lang="he-IL" sz="800" kern="1200" dirty="0"/>
        </a:p>
      </dsp:txBody>
      <dsp:txXfrm>
        <a:off x="2702863" y="1122142"/>
        <a:ext cx="579802" cy="579802"/>
      </dsp:txXfrm>
    </dsp:sp>
    <dsp:sp modelId="{D636C3C9-B01F-4285-9613-C5A7ECF8389B}">
      <dsp:nvSpPr>
        <dsp:cNvPr id="0" name=""/>
        <dsp:cNvSpPr/>
      </dsp:nvSpPr>
      <dsp:spPr>
        <a:xfrm rot="5400000">
          <a:off x="1922424" y="1780318"/>
          <a:ext cx="139254" cy="174285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700" kern="1200"/>
        </a:p>
      </dsp:txBody>
      <dsp:txXfrm>
        <a:off x="1943312" y="1794287"/>
        <a:ext cx="97478" cy="104571"/>
      </dsp:txXfrm>
    </dsp:sp>
    <dsp:sp modelId="{6FEE0992-CC20-4697-9157-D4C5313A2B1E}">
      <dsp:nvSpPr>
        <dsp:cNvPr id="0" name=""/>
        <dsp:cNvSpPr/>
      </dsp:nvSpPr>
      <dsp:spPr>
        <a:xfrm>
          <a:off x="1582069" y="2002774"/>
          <a:ext cx="819964" cy="819964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Population</a:t>
          </a:r>
          <a:endParaRPr lang="he-IL" sz="800" kern="1200" dirty="0"/>
        </a:p>
      </dsp:txBody>
      <dsp:txXfrm>
        <a:off x="1702150" y="2122855"/>
        <a:ext cx="579802" cy="579802"/>
      </dsp:txXfrm>
    </dsp:sp>
    <dsp:sp modelId="{CC93AC72-F046-4065-B02B-B4DD5010BE79}">
      <dsp:nvSpPr>
        <dsp:cNvPr id="0" name=""/>
        <dsp:cNvSpPr/>
      </dsp:nvSpPr>
      <dsp:spPr>
        <a:xfrm rot="10800000">
          <a:off x="1467007" y="1324901"/>
          <a:ext cx="139254" cy="174285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sz="700" kern="1200"/>
        </a:p>
      </dsp:txBody>
      <dsp:txXfrm rot="10800000">
        <a:off x="1508783" y="1359758"/>
        <a:ext cx="97478" cy="104571"/>
      </dsp:txXfrm>
    </dsp:sp>
    <dsp:sp modelId="{CE759648-DA01-4409-BF9D-DFE7E1E050E8}">
      <dsp:nvSpPr>
        <dsp:cNvPr id="0" name=""/>
        <dsp:cNvSpPr/>
      </dsp:nvSpPr>
      <dsp:spPr>
        <a:xfrm>
          <a:off x="581356" y="1002061"/>
          <a:ext cx="819964" cy="819964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Location</a:t>
          </a:r>
          <a:endParaRPr lang="he-IL" sz="800" kern="1200" dirty="0"/>
        </a:p>
      </dsp:txBody>
      <dsp:txXfrm>
        <a:off x="701437" y="1122142"/>
        <a:ext cx="579802" cy="579802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71432-935F-418F-8EB1-EA1A43050BB1}">
      <dsp:nvSpPr>
        <dsp:cNvPr id="0" name=""/>
        <dsp:cNvSpPr/>
      </dsp:nvSpPr>
      <dsp:spPr>
        <a:xfrm>
          <a:off x="-4731660" y="-787415"/>
          <a:ext cx="6121431" cy="6121431"/>
        </a:xfrm>
        <a:prstGeom prst="blockArc">
          <a:avLst>
            <a:gd name="adj1" fmla="val 18900000"/>
            <a:gd name="adj2" fmla="val 2700000"/>
            <a:gd name="adj3" fmla="val 353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7A945D-8DF5-4AC8-9A7D-D6E40D028A89}">
      <dsp:nvSpPr>
        <dsp:cNvPr id="0" name=""/>
        <dsp:cNvSpPr/>
      </dsp:nvSpPr>
      <dsp:spPr>
        <a:xfrm>
          <a:off x="1348024" y="1194880"/>
          <a:ext cx="5994389" cy="215683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4432" tIns="139700" rIns="139700" bIns="139700" numCol="1" spcCol="1270" anchor="ctr" anchorCtr="0">
          <a:noAutofit/>
        </a:bodyPr>
        <a:lstStyle/>
        <a:p>
          <a:pPr lvl="0" algn="l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500" kern="1200" dirty="0" smtClean="0"/>
            <a:t>Relational Partitioning</a:t>
          </a:r>
          <a:endParaRPr lang="en-US" sz="5500" kern="1200" dirty="0"/>
        </a:p>
      </dsp:txBody>
      <dsp:txXfrm>
        <a:off x="1348024" y="1194880"/>
        <a:ext cx="5994389" cy="2156839"/>
      </dsp:txXfrm>
    </dsp:sp>
    <dsp:sp modelId="{FFF049AE-C54A-4D31-908C-A502B61505BE}">
      <dsp:nvSpPr>
        <dsp:cNvPr id="0" name=""/>
        <dsp:cNvSpPr/>
      </dsp:nvSpPr>
      <dsp:spPr>
        <a:xfrm>
          <a:off x="0" y="925276"/>
          <a:ext cx="2696048" cy="26960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71432-935F-418F-8EB1-EA1A43050BB1}">
      <dsp:nvSpPr>
        <dsp:cNvPr id="0" name=""/>
        <dsp:cNvSpPr/>
      </dsp:nvSpPr>
      <dsp:spPr>
        <a:xfrm>
          <a:off x="-4731660" y="-787415"/>
          <a:ext cx="6121431" cy="6121431"/>
        </a:xfrm>
        <a:prstGeom prst="blockArc">
          <a:avLst>
            <a:gd name="adj1" fmla="val 18900000"/>
            <a:gd name="adj2" fmla="val 2700000"/>
            <a:gd name="adj3" fmla="val 353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A88A3D-5BE7-4B78-B4B8-34FB999DCC07}">
      <dsp:nvSpPr>
        <dsp:cNvPr id="0" name=""/>
        <dsp:cNvSpPr/>
      </dsp:nvSpPr>
      <dsp:spPr>
        <a:xfrm>
          <a:off x="1348024" y="1194880"/>
          <a:ext cx="5994389" cy="215683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4432" tIns="116840" rIns="116840" bIns="116840" numCol="1" spcCol="1270" anchor="ctr" anchorCtr="0">
          <a:noAutofit/>
        </a:bodyPr>
        <a:lstStyle/>
        <a:p>
          <a:pPr lvl="0" algn="l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600" kern="1200" dirty="0" smtClean="0"/>
            <a:t>OLAP and </a:t>
          </a:r>
          <a:r>
            <a:rPr lang="en-US" sz="4600" kern="1200" dirty="0" err="1" smtClean="0"/>
            <a:t>InMemory</a:t>
          </a:r>
          <a:r>
            <a:rPr lang="en-US" sz="4600" kern="1200" dirty="0" smtClean="0"/>
            <a:t> Databases</a:t>
          </a:r>
          <a:endParaRPr lang="en-US" sz="4600" kern="1200" dirty="0"/>
        </a:p>
      </dsp:txBody>
      <dsp:txXfrm>
        <a:off x="1348024" y="1194880"/>
        <a:ext cx="5994389" cy="2156839"/>
      </dsp:txXfrm>
    </dsp:sp>
    <dsp:sp modelId="{1DAF4C77-2822-46D2-BF72-F99946346FF6}">
      <dsp:nvSpPr>
        <dsp:cNvPr id="0" name=""/>
        <dsp:cNvSpPr/>
      </dsp:nvSpPr>
      <dsp:spPr>
        <a:xfrm>
          <a:off x="0" y="925276"/>
          <a:ext cx="2696048" cy="26960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37A6F5-C450-41FE-B8E0-01535600C460}">
      <dsp:nvSpPr>
        <dsp:cNvPr id="0" name=""/>
        <dsp:cNvSpPr/>
      </dsp:nvSpPr>
      <dsp:spPr>
        <a:xfrm>
          <a:off x="2081766" y="3153667"/>
          <a:ext cx="2101886" cy="21024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C234CEF-9644-4BFB-8A76-005C34F7ACDD}">
      <dsp:nvSpPr>
        <dsp:cNvPr id="0" name=""/>
        <dsp:cNvSpPr/>
      </dsp:nvSpPr>
      <dsp:spPr>
        <a:xfrm>
          <a:off x="3422443" y="1605742"/>
          <a:ext cx="624244" cy="623900"/>
        </a:xfrm>
        <a:prstGeom prst="donut">
          <a:avLst>
            <a:gd name="adj" fmla="val 746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65F2616-42E7-46AE-B31A-1C6B7A5A84FB}">
      <dsp:nvSpPr>
        <dsp:cNvPr id="0" name=""/>
        <dsp:cNvSpPr/>
      </dsp:nvSpPr>
      <dsp:spPr>
        <a:xfrm>
          <a:off x="2162540" y="3234611"/>
          <a:ext cx="1941216" cy="194055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z="50080"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9B75C1C-8AC2-4B2C-A0AA-161E10C2A73D}">
      <dsp:nvSpPr>
        <dsp:cNvPr id="0" name=""/>
        <dsp:cNvSpPr/>
      </dsp:nvSpPr>
      <dsp:spPr>
        <a:xfrm>
          <a:off x="4336421" y="3551029"/>
          <a:ext cx="1100110" cy="10995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56E4CCB-FF87-4DA0-B16B-5955494E611A}">
      <dsp:nvSpPr>
        <dsp:cNvPr id="0" name=""/>
        <dsp:cNvSpPr/>
      </dsp:nvSpPr>
      <dsp:spPr>
        <a:xfrm>
          <a:off x="4401392" y="3615680"/>
          <a:ext cx="970169" cy="97027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z="50080"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D9C5CA1-F075-46BF-AA4C-0A829BA0BA23}">
      <dsp:nvSpPr>
        <dsp:cNvPr id="0" name=""/>
        <dsp:cNvSpPr/>
      </dsp:nvSpPr>
      <dsp:spPr>
        <a:xfrm>
          <a:off x="3906210" y="1998374"/>
          <a:ext cx="1410037" cy="141021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67D27A1-775E-4EA7-8CBF-D04C7ED2FF3F}">
      <dsp:nvSpPr>
        <dsp:cNvPr id="0" name=""/>
        <dsp:cNvSpPr/>
      </dsp:nvSpPr>
      <dsp:spPr>
        <a:xfrm>
          <a:off x="4697271" y="231268"/>
          <a:ext cx="461818" cy="462012"/>
        </a:xfrm>
        <a:prstGeom prst="donut">
          <a:avLst>
            <a:gd name="adj" fmla="val 746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90C630F-7B36-4990-8AAA-0A9573EC6ABC}">
      <dsp:nvSpPr>
        <dsp:cNvPr id="0" name=""/>
        <dsp:cNvSpPr/>
      </dsp:nvSpPr>
      <dsp:spPr>
        <a:xfrm>
          <a:off x="5274983" y="0"/>
          <a:ext cx="230909" cy="231268"/>
        </a:xfrm>
        <a:prstGeom prst="donut">
          <a:avLst>
            <a:gd name="adj" fmla="val 746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3DC5A2-34B7-4E14-AEDD-60ED3978DB28}">
      <dsp:nvSpPr>
        <dsp:cNvPr id="0" name=""/>
        <dsp:cNvSpPr/>
      </dsp:nvSpPr>
      <dsp:spPr>
        <a:xfrm>
          <a:off x="3980839" y="2073010"/>
          <a:ext cx="1261658" cy="1261467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z="50080"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345120A-B4DC-4930-B6FD-0C62BDF789B7}">
      <dsp:nvSpPr>
        <dsp:cNvPr id="0" name=""/>
        <dsp:cNvSpPr/>
      </dsp:nvSpPr>
      <dsp:spPr>
        <a:xfrm>
          <a:off x="4064247" y="743739"/>
          <a:ext cx="988606" cy="98867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3E77587-92F1-42E4-A5C1-DB2E0E0154D8}">
      <dsp:nvSpPr>
        <dsp:cNvPr id="0" name=""/>
        <dsp:cNvSpPr/>
      </dsp:nvSpPr>
      <dsp:spPr>
        <a:xfrm>
          <a:off x="5505892" y="4620648"/>
          <a:ext cx="346802" cy="346377"/>
        </a:xfrm>
        <a:prstGeom prst="donut">
          <a:avLst>
            <a:gd name="adj" fmla="val 746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310A138-0FD1-445F-A19F-3959B90DD71A}">
      <dsp:nvSpPr>
        <dsp:cNvPr id="0" name=""/>
        <dsp:cNvSpPr/>
      </dsp:nvSpPr>
      <dsp:spPr>
        <a:xfrm>
          <a:off x="4122194" y="802082"/>
          <a:ext cx="872713" cy="87251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z="50080"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E865477-EEE7-4521-9DA8-9B136205A960}">
      <dsp:nvSpPr>
        <dsp:cNvPr id="0" name=""/>
        <dsp:cNvSpPr/>
      </dsp:nvSpPr>
      <dsp:spPr>
        <a:xfrm>
          <a:off x="0" y="2381851"/>
          <a:ext cx="3119466" cy="1014955"/>
        </a:xfrm>
        <a:prstGeom prst="rect">
          <a:avLst/>
        </a:prstGeom>
        <a:solidFill>
          <a:schemeClr val="lt1">
            <a:alpha val="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" numCol="1" spcCol="1270" anchor="b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~8 Years of Video Uploaded to YouTube every Day</a:t>
          </a:r>
          <a:endParaRPr lang="he-IL" sz="1900" kern="1200" dirty="0"/>
        </a:p>
      </dsp:txBody>
      <dsp:txXfrm>
        <a:off x="0" y="2381851"/>
        <a:ext cx="3119466" cy="1014955"/>
      </dsp:txXfrm>
    </dsp:sp>
    <dsp:sp modelId="{6599B7FA-B086-4EB8-AFE9-708523DE413D}">
      <dsp:nvSpPr>
        <dsp:cNvPr id="0" name=""/>
        <dsp:cNvSpPr/>
      </dsp:nvSpPr>
      <dsp:spPr>
        <a:xfrm>
          <a:off x="5067544" y="3615680"/>
          <a:ext cx="3119466" cy="970278"/>
        </a:xfrm>
        <a:prstGeom prst="rect">
          <a:avLst/>
        </a:prstGeom>
        <a:solidFill>
          <a:schemeClr val="lt1">
            <a:alpha val="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~140 Million Tweets on Twitter every Day</a:t>
          </a:r>
          <a:endParaRPr lang="he-IL" sz="1900" kern="1200" dirty="0"/>
        </a:p>
      </dsp:txBody>
      <dsp:txXfrm>
        <a:off x="5067544" y="3615680"/>
        <a:ext cx="3119466" cy="970278"/>
      </dsp:txXfrm>
    </dsp:sp>
    <dsp:sp modelId="{AA54EFDE-2B21-4AD9-B527-CA40100C5BAE}">
      <dsp:nvSpPr>
        <dsp:cNvPr id="0" name=""/>
        <dsp:cNvSpPr/>
      </dsp:nvSpPr>
      <dsp:spPr>
        <a:xfrm>
          <a:off x="5305590" y="2073010"/>
          <a:ext cx="3119466" cy="1261467"/>
        </a:xfrm>
        <a:prstGeom prst="rect">
          <a:avLst/>
        </a:prstGeom>
        <a:solidFill>
          <a:schemeClr val="lt1">
            <a:alpha val="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&gt;250 Million Photos Uploaded to Facebook every Day</a:t>
          </a:r>
          <a:endParaRPr lang="he-IL" sz="1900" kern="1200" dirty="0"/>
        </a:p>
      </dsp:txBody>
      <dsp:txXfrm>
        <a:off x="5305590" y="2073010"/>
        <a:ext cx="3119466" cy="1261467"/>
      </dsp:txXfrm>
    </dsp:sp>
    <dsp:sp modelId="{0E4626FC-36A5-43A4-B794-DBC6AE34F4F4}">
      <dsp:nvSpPr>
        <dsp:cNvPr id="0" name=""/>
        <dsp:cNvSpPr/>
      </dsp:nvSpPr>
      <dsp:spPr>
        <a:xfrm>
          <a:off x="4968683" y="802082"/>
          <a:ext cx="3119466" cy="872514"/>
        </a:xfrm>
        <a:prstGeom prst="rect">
          <a:avLst/>
        </a:prstGeom>
        <a:solidFill>
          <a:schemeClr val="lt1">
            <a:alpha val="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1.8 Million Photos Uploaded to Flickr every Day</a:t>
          </a:r>
          <a:endParaRPr lang="he-IL" sz="1900" kern="1200" dirty="0"/>
        </a:p>
      </dsp:txBody>
      <dsp:txXfrm>
        <a:off x="4968683" y="802082"/>
        <a:ext cx="3119466" cy="872514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12A08E-EF2D-4551-98E9-F50583DF3651}">
      <dsp:nvSpPr>
        <dsp:cNvPr id="0" name=""/>
        <dsp:cNvSpPr/>
      </dsp:nvSpPr>
      <dsp:spPr>
        <a:xfrm rot="16200000">
          <a:off x="-1064617" y="1064617"/>
          <a:ext cx="4064000" cy="1934765"/>
        </a:xfrm>
        <a:prstGeom prst="flowChartManualOperati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3264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Hadoop</a:t>
          </a:r>
          <a:endParaRPr lang="en-US" sz="24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Poly-Structured</a:t>
          </a:r>
          <a:endParaRPr lang="en-US" sz="1900" kern="1200" dirty="0"/>
        </a:p>
      </dsp:txBody>
      <dsp:txXfrm rot="5400000">
        <a:off x="0" y="812800"/>
        <a:ext cx="1934765" cy="2438400"/>
      </dsp:txXfrm>
    </dsp:sp>
    <dsp:sp modelId="{381CC3FA-2451-41B1-BCBC-09CF1327E960}">
      <dsp:nvSpPr>
        <dsp:cNvPr id="0" name=""/>
        <dsp:cNvSpPr/>
      </dsp:nvSpPr>
      <dsp:spPr>
        <a:xfrm rot="16200000">
          <a:off x="1016000" y="1064617"/>
          <a:ext cx="4064000" cy="1934765"/>
        </a:xfrm>
        <a:prstGeom prst="flowChartManualOperati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3264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Massively Parallel Processing</a:t>
          </a:r>
          <a:endParaRPr lang="en-US" sz="24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Structured</a:t>
          </a:r>
          <a:endParaRPr lang="en-US" sz="1900" kern="1200" dirty="0"/>
        </a:p>
      </dsp:txBody>
      <dsp:txXfrm rot="5400000">
        <a:off x="2080617" y="812800"/>
        <a:ext cx="1934765" cy="2438400"/>
      </dsp:txXfrm>
    </dsp:sp>
    <dsp:sp modelId="{EE7376B9-5B39-4250-9165-A1687F7006B4}">
      <dsp:nvSpPr>
        <dsp:cNvPr id="0" name=""/>
        <dsp:cNvSpPr/>
      </dsp:nvSpPr>
      <dsp:spPr>
        <a:xfrm rot="16200000">
          <a:off x="3095873" y="1064617"/>
          <a:ext cx="4064000" cy="1934765"/>
        </a:xfrm>
        <a:prstGeom prst="flowChartManualOperati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3264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NoSQL</a:t>
          </a:r>
          <a:endParaRPr lang="en-US" sz="24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Semi-Structured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smtClean="0"/>
            <a:t>Key-Value</a:t>
          </a:r>
          <a:endParaRPr lang="en-US" sz="1900" kern="1200" dirty="0"/>
        </a:p>
      </dsp:txBody>
      <dsp:txXfrm rot="5400000">
        <a:off x="4160490" y="812800"/>
        <a:ext cx="1934765" cy="2438400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086714-362E-4A65-B014-04928D711FFC}">
      <dsp:nvSpPr>
        <dsp:cNvPr id="0" name=""/>
        <dsp:cNvSpPr/>
      </dsp:nvSpPr>
      <dsp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B9650-7A02-4C0D-A3E7-5F8CB7D32D41}">
      <dsp:nvSpPr>
        <dsp:cNvPr id="0" name=""/>
        <dsp:cNvSpPr/>
      </dsp:nvSpPr>
      <dsp:spPr>
        <a:xfrm>
          <a:off x="564979" y="406400"/>
          <a:ext cx="5475833" cy="812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Relational &amp; Columnar</a:t>
          </a:r>
          <a:endParaRPr lang="en-US" sz="2400" kern="1200" dirty="0"/>
        </a:p>
      </dsp:txBody>
      <dsp:txXfrm>
        <a:off x="564979" y="406400"/>
        <a:ext cx="5475833" cy="812800"/>
      </dsp:txXfrm>
    </dsp:sp>
    <dsp:sp modelId="{8F864F20-590A-4D1B-8954-A2FBB2F7C347}">
      <dsp:nvSpPr>
        <dsp:cNvPr id="0" name=""/>
        <dsp:cNvSpPr/>
      </dsp:nvSpPr>
      <dsp:spPr>
        <a:xfrm>
          <a:off x="56979" y="304800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AF5A0C-4A97-41EC-9FEA-06E11495A341}">
      <dsp:nvSpPr>
        <dsp:cNvPr id="0" name=""/>
        <dsp:cNvSpPr/>
      </dsp:nvSpPr>
      <dsp:spPr>
        <a:xfrm>
          <a:off x="860432" y="1625599"/>
          <a:ext cx="5180380" cy="8128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Massively Parallel Processing</a:t>
          </a:r>
          <a:endParaRPr lang="en-US" sz="2400" kern="1200" dirty="0"/>
        </a:p>
      </dsp:txBody>
      <dsp:txXfrm>
        <a:off x="860432" y="1625599"/>
        <a:ext cx="5180380" cy="812800"/>
      </dsp:txXfrm>
    </dsp:sp>
    <dsp:sp modelId="{2A3CBB1E-CBBD-4F00-A7A1-0B16D4F64973}">
      <dsp:nvSpPr>
        <dsp:cNvPr id="0" name=""/>
        <dsp:cNvSpPr/>
      </dsp:nvSpPr>
      <dsp:spPr>
        <a:xfrm>
          <a:off x="352432" y="1523999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BA4D2E-46F0-45B0-8751-81CE6A42C7F5}">
      <dsp:nvSpPr>
        <dsp:cNvPr id="0" name=""/>
        <dsp:cNvSpPr/>
      </dsp:nvSpPr>
      <dsp:spPr>
        <a:xfrm>
          <a:off x="564979" y="2844800"/>
          <a:ext cx="5475833" cy="8128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ome use special hardware</a:t>
          </a:r>
          <a:endParaRPr lang="en-US" sz="2400" kern="1200" dirty="0"/>
        </a:p>
      </dsp:txBody>
      <dsp:txXfrm>
        <a:off x="564979" y="2844800"/>
        <a:ext cx="5475833" cy="812800"/>
      </dsp:txXfrm>
    </dsp:sp>
    <dsp:sp modelId="{AB11CA96-13F1-4D40-91FD-D6AE34429D0B}">
      <dsp:nvSpPr>
        <dsp:cNvPr id="0" name=""/>
        <dsp:cNvSpPr/>
      </dsp:nvSpPr>
      <dsp:spPr>
        <a:xfrm>
          <a:off x="56979" y="2743200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A57B78-9325-40E6-960F-07A0FAB3E40F}">
      <dsp:nvSpPr>
        <dsp:cNvPr id="0" name=""/>
        <dsp:cNvSpPr/>
      </dsp:nvSpPr>
      <dsp:spPr>
        <a:xfrm rot="16200000">
          <a:off x="508000" y="-508000"/>
          <a:ext cx="2032000" cy="3048000"/>
        </a:xfrm>
        <a:prstGeom prst="round1Rect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onsolidation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Of Sources</a:t>
          </a:r>
          <a:endParaRPr lang="en-US" sz="2100" kern="1200" dirty="0"/>
        </a:p>
      </dsp:txBody>
      <dsp:txXfrm rot="5400000">
        <a:off x="0" y="0"/>
        <a:ext cx="3048000" cy="1524000"/>
      </dsp:txXfrm>
    </dsp:sp>
    <dsp:sp modelId="{263F9268-DAB4-4A73-BE6C-92B306445ED8}">
      <dsp:nvSpPr>
        <dsp:cNvPr id="0" name=""/>
        <dsp:cNvSpPr/>
      </dsp:nvSpPr>
      <dsp:spPr>
        <a:xfrm>
          <a:off x="3048000" y="0"/>
          <a:ext cx="3048000" cy="2032000"/>
        </a:xfrm>
        <a:prstGeom prst="round1Rect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Improve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Query Performance</a:t>
          </a:r>
          <a:endParaRPr lang="en-US" sz="2100" kern="1200" dirty="0"/>
        </a:p>
      </dsp:txBody>
      <dsp:txXfrm>
        <a:off x="3048000" y="0"/>
        <a:ext cx="3048000" cy="1524000"/>
      </dsp:txXfrm>
    </dsp:sp>
    <dsp:sp modelId="{24425072-5A5C-4E0B-A485-957321B3DD6F}">
      <dsp:nvSpPr>
        <dsp:cNvPr id="0" name=""/>
        <dsp:cNvSpPr/>
      </dsp:nvSpPr>
      <dsp:spPr>
        <a:xfrm rot="10800000">
          <a:off x="0" y="2032000"/>
          <a:ext cx="3048000" cy="2032000"/>
        </a:xfrm>
        <a:prstGeom prst="round1Rect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Separate Research and Decision Support it is different!</a:t>
          </a:r>
          <a:endParaRPr lang="en-US" sz="2100" kern="1200" dirty="0"/>
        </a:p>
      </dsp:txBody>
      <dsp:txXfrm rot="10800000">
        <a:off x="0" y="2539999"/>
        <a:ext cx="3048000" cy="1524000"/>
      </dsp:txXfrm>
    </dsp:sp>
    <dsp:sp modelId="{DF87A2F5-7170-4DF7-A053-03D3F6C70A58}">
      <dsp:nvSpPr>
        <dsp:cNvPr id="0" name=""/>
        <dsp:cNvSpPr/>
      </dsp:nvSpPr>
      <dsp:spPr>
        <a:xfrm rot="5400000">
          <a:off x="3556000" y="1523999"/>
          <a:ext cx="2032000" cy="3048000"/>
        </a:xfrm>
        <a:prstGeom prst="round1Rect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Build the foundation for Advanced Analytics</a:t>
          </a:r>
          <a:endParaRPr lang="en-US" sz="2100" kern="1200" dirty="0"/>
        </a:p>
      </dsp:txBody>
      <dsp:txXfrm rot="-5400000">
        <a:off x="3048000" y="2539999"/>
        <a:ext cx="3048000" cy="1524000"/>
      </dsp:txXfrm>
    </dsp:sp>
    <dsp:sp modelId="{09613007-6014-4C83-99B1-5D43727D2154}">
      <dsp:nvSpPr>
        <dsp:cNvPr id="0" name=""/>
        <dsp:cNvSpPr/>
      </dsp:nvSpPr>
      <dsp:spPr>
        <a:xfrm>
          <a:off x="2133600" y="1523999"/>
          <a:ext cx="1828800" cy="1016000"/>
        </a:xfrm>
        <a:prstGeom prst="roundRect">
          <a:avLst/>
        </a:prstGeom>
        <a:solidFill>
          <a:srgbClr val="ED19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WH</a:t>
          </a:r>
          <a:endParaRPr lang="en-US" sz="2100" kern="1200" dirty="0"/>
        </a:p>
      </dsp:txBody>
      <dsp:txXfrm>
        <a:off x="2183197" y="1573596"/>
        <a:ext cx="1729606" cy="916806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C63C82-D0BA-4FDE-B18F-5833FD099094}">
      <dsp:nvSpPr>
        <dsp:cNvPr id="0" name=""/>
        <dsp:cNvSpPr/>
      </dsp:nvSpPr>
      <dsp:spPr>
        <a:xfrm rot="5400000">
          <a:off x="-169068" y="169670"/>
          <a:ext cx="1127124" cy="7889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QL</a:t>
          </a:r>
          <a:endParaRPr lang="en-US" sz="1600" kern="1200" dirty="0"/>
        </a:p>
      </dsp:txBody>
      <dsp:txXfrm rot="-5400000">
        <a:off x="1" y="395096"/>
        <a:ext cx="788987" cy="338137"/>
      </dsp:txXfrm>
    </dsp:sp>
    <dsp:sp modelId="{6E1194C4-427C-400E-8F32-82FCC79A98EC}">
      <dsp:nvSpPr>
        <dsp:cNvPr id="0" name=""/>
        <dsp:cNvSpPr/>
      </dsp:nvSpPr>
      <dsp:spPr>
        <a:xfrm rot="5400000">
          <a:off x="3076178" y="-2286589"/>
          <a:ext cx="732631" cy="53070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Standard SQL Interface</a:t>
          </a:r>
          <a:endParaRPr lang="en-US" sz="2100" kern="1200" dirty="0"/>
        </a:p>
      </dsp:txBody>
      <dsp:txXfrm rot="-5400000">
        <a:off x="788988" y="36365"/>
        <a:ext cx="5271248" cy="661103"/>
      </dsp:txXfrm>
    </dsp:sp>
    <dsp:sp modelId="{3F7927A6-DA41-472D-BDDF-4F9B5A8882AD}">
      <dsp:nvSpPr>
        <dsp:cNvPr id="0" name=""/>
        <dsp:cNvSpPr/>
      </dsp:nvSpPr>
      <dsp:spPr>
        <a:xfrm rot="5400000">
          <a:off x="-169068" y="1148227"/>
          <a:ext cx="1127124" cy="7889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torage</a:t>
          </a:r>
          <a:endParaRPr lang="en-US" sz="1600" kern="1200" dirty="0"/>
        </a:p>
      </dsp:txBody>
      <dsp:txXfrm rot="-5400000">
        <a:off x="1" y="1373653"/>
        <a:ext cx="788987" cy="338137"/>
      </dsp:txXfrm>
    </dsp:sp>
    <dsp:sp modelId="{00078993-3319-455D-96A5-F7D6B0FF10E5}">
      <dsp:nvSpPr>
        <dsp:cNvPr id="0" name=""/>
        <dsp:cNvSpPr/>
      </dsp:nvSpPr>
      <dsp:spPr>
        <a:xfrm rot="5400000">
          <a:off x="3076178" y="-1308031"/>
          <a:ext cx="732631" cy="53070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Column orientation for fast results</a:t>
          </a:r>
          <a:endParaRPr 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Some times row orientation as well</a:t>
          </a:r>
          <a:endParaRPr lang="en-US" sz="2100" kern="1200" dirty="0"/>
        </a:p>
      </dsp:txBody>
      <dsp:txXfrm rot="-5400000">
        <a:off x="788988" y="1014923"/>
        <a:ext cx="5271248" cy="661103"/>
      </dsp:txXfrm>
    </dsp:sp>
    <dsp:sp modelId="{F61C23C9-79BB-4414-901B-58D5166C6E21}">
      <dsp:nvSpPr>
        <dsp:cNvPr id="0" name=""/>
        <dsp:cNvSpPr/>
      </dsp:nvSpPr>
      <dsp:spPr>
        <a:xfrm rot="5400000">
          <a:off x="-169068" y="2126784"/>
          <a:ext cx="1127124" cy="7889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HA</a:t>
          </a:r>
          <a:endParaRPr lang="en-US" sz="1600" kern="1200" dirty="0"/>
        </a:p>
      </dsp:txBody>
      <dsp:txXfrm rot="-5400000">
        <a:off x="1" y="2352210"/>
        <a:ext cx="788987" cy="338137"/>
      </dsp:txXfrm>
    </dsp:sp>
    <dsp:sp modelId="{A3228BED-0D90-4E29-B816-1DC7B3094515}">
      <dsp:nvSpPr>
        <dsp:cNvPr id="0" name=""/>
        <dsp:cNvSpPr/>
      </dsp:nvSpPr>
      <dsp:spPr>
        <a:xfrm rot="5400000">
          <a:off x="3076178" y="-329474"/>
          <a:ext cx="732631" cy="53070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Built in High availability</a:t>
          </a:r>
          <a:endParaRPr lang="en-US" sz="2100" kern="1200" dirty="0"/>
        </a:p>
      </dsp:txBody>
      <dsp:txXfrm rot="-5400000">
        <a:off x="788988" y="1993480"/>
        <a:ext cx="5271248" cy="661103"/>
      </dsp:txXfrm>
    </dsp:sp>
    <dsp:sp modelId="{699572BF-2237-45BA-B874-FD7E6EC3EB89}">
      <dsp:nvSpPr>
        <dsp:cNvPr id="0" name=""/>
        <dsp:cNvSpPr/>
      </dsp:nvSpPr>
      <dsp:spPr>
        <a:xfrm rot="5400000">
          <a:off x="-169068" y="3105342"/>
          <a:ext cx="1127124" cy="7889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PP</a:t>
          </a:r>
          <a:endParaRPr lang="en-US" sz="1600" kern="1200" dirty="0"/>
        </a:p>
      </dsp:txBody>
      <dsp:txXfrm rot="-5400000">
        <a:off x="1" y="3330768"/>
        <a:ext cx="788987" cy="338137"/>
      </dsp:txXfrm>
    </dsp:sp>
    <dsp:sp modelId="{D30A32BB-F591-46DA-852C-60A14D3A1AFA}">
      <dsp:nvSpPr>
        <dsp:cNvPr id="0" name=""/>
        <dsp:cNvSpPr/>
      </dsp:nvSpPr>
      <dsp:spPr>
        <a:xfrm rot="5400000">
          <a:off x="3076178" y="649083"/>
          <a:ext cx="732631" cy="53070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Native DB aware clustering</a:t>
          </a:r>
          <a:endParaRPr lang="en-US" sz="2100" kern="1200" dirty="0"/>
        </a:p>
      </dsp:txBody>
      <dsp:txXfrm rot="-5400000">
        <a:off x="788988" y="2972037"/>
        <a:ext cx="5271248" cy="66110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A57B78-9325-40E6-960F-07A0FAB3E40F}">
      <dsp:nvSpPr>
        <dsp:cNvPr id="0" name=""/>
        <dsp:cNvSpPr/>
      </dsp:nvSpPr>
      <dsp:spPr>
        <a:xfrm rot="16200000">
          <a:off x="393130" y="-393130"/>
          <a:ext cx="1629836" cy="2416097"/>
        </a:xfrm>
        <a:prstGeom prst="round1Rect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0" kern="1200" dirty="0" smtClean="0"/>
            <a:t>How will we use this data?</a:t>
          </a:r>
          <a:endParaRPr lang="en-US" sz="1700" kern="1200" dirty="0"/>
        </a:p>
      </dsp:txBody>
      <dsp:txXfrm rot="5400000">
        <a:off x="0" y="0"/>
        <a:ext cx="2416097" cy="1222377"/>
      </dsp:txXfrm>
    </dsp:sp>
    <dsp:sp modelId="{263F9268-DAB4-4A73-BE6C-92B306445ED8}">
      <dsp:nvSpPr>
        <dsp:cNvPr id="0" name=""/>
        <dsp:cNvSpPr/>
      </dsp:nvSpPr>
      <dsp:spPr>
        <a:xfrm>
          <a:off x="2416097" y="0"/>
          <a:ext cx="2416097" cy="1629836"/>
        </a:xfrm>
        <a:prstGeom prst="round1Rect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0" kern="1200" dirty="0" smtClean="0"/>
            <a:t>What problem are we trying to solve?</a:t>
          </a:r>
          <a:endParaRPr lang="en-US" sz="1700" kern="1200" dirty="0"/>
        </a:p>
      </dsp:txBody>
      <dsp:txXfrm>
        <a:off x="2416097" y="0"/>
        <a:ext cx="2416097" cy="1222377"/>
      </dsp:txXfrm>
    </dsp:sp>
    <dsp:sp modelId="{24425072-5A5C-4E0B-A485-957321B3DD6F}">
      <dsp:nvSpPr>
        <dsp:cNvPr id="0" name=""/>
        <dsp:cNvSpPr/>
      </dsp:nvSpPr>
      <dsp:spPr>
        <a:xfrm rot="10800000">
          <a:off x="0" y="1629836"/>
          <a:ext cx="2416097" cy="1629836"/>
        </a:xfrm>
        <a:prstGeom prst="round1Rect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0" kern="1200" dirty="0" smtClean="0"/>
            <a:t>Who will be viewing the reports or end product?</a:t>
          </a:r>
          <a:r>
            <a:rPr lang="en-US" sz="1700" kern="1200" dirty="0" smtClean="0"/>
            <a:t/>
          </a:r>
          <a:br>
            <a:rPr lang="en-US" sz="1700" kern="1200" dirty="0" smtClean="0"/>
          </a:br>
          <a:endParaRPr lang="en-US" sz="1700" kern="1200" dirty="0"/>
        </a:p>
      </dsp:txBody>
      <dsp:txXfrm rot="10800000">
        <a:off x="0" y="2037295"/>
        <a:ext cx="2416097" cy="1222377"/>
      </dsp:txXfrm>
    </dsp:sp>
    <dsp:sp modelId="{DF87A2F5-7170-4DF7-A053-03D3F6C70A58}">
      <dsp:nvSpPr>
        <dsp:cNvPr id="0" name=""/>
        <dsp:cNvSpPr/>
      </dsp:nvSpPr>
      <dsp:spPr>
        <a:xfrm rot="5400000">
          <a:off x="2809228" y="1236706"/>
          <a:ext cx="1629836" cy="2416097"/>
        </a:xfrm>
        <a:prstGeom prst="round1Rect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0" kern="1200" dirty="0" smtClean="0"/>
            <a:t>What decisions do they ultimately want to make using this data?</a:t>
          </a:r>
          <a:endParaRPr lang="en-US" sz="1700" kern="1200" dirty="0"/>
        </a:p>
      </dsp:txBody>
      <dsp:txXfrm rot="-5400000">
        <a:off x="2416097" y="2037295"/>
        <a:ext cx="2416097" cy="1222377"/>
      </dsp:txXfrm>
    </dsp:sp>
    <dsp:sp modelId="{09613007-6014-4C83-99B1-5D43727D2154}">
      <dsp:nvSpPr>
        <dsp:cNvPr id="0" name=""/>
        <dsp:cNvSpPr/>
      </dsp:nvSpPr>
      <dsp:spPr>
        <a:xfrm>
          <a:off x="1691268" y="1222377"/>
          <a:ext cx="1449658" cy="814918"/>
        </a:xfrm>
        <a:prstGeom prst="roundRect">
          <a:avLst/>
        </a:prstGeom>
        <a:solidFill>
          <a:srgbClr val="ED19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DWH</a:t>
          </a:r>
          <a:endParaRPr lang="en-US" sz="1700" kern="1200" dirty="0"/>
        </a:p>
      </dsp:txBody>
      <dsp:txXfrm>
        <a:off x="1731049" y="1262158"/>
        <a:ext cx="1370096" cy="7353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B5045C-AACA-4DE1-9525-A42668023B34}">
      <dsp:nvSpPr>
        <dsp:cNvPr id="0" name=""/>
        <dsp:cNvSpPr/>
      </dsp:nvSpPr>
      <dsp:spPr>
        <a:xfrm>
          <a:off x="2412" y="1739"/>
          <a:ext cx="7716774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Project Manager</a:t>
          </a:r>
          <a:endParaRPr lang="en-US" sz="2400" kern="1200" dirty="0"/>
        </a:p>
      </dsp:txBody>
      <dsp:txXfrm>
        <a:off x="51415" y="50742"/>
        <a:ext cx="7618768" cy="1575063"/>
      </dsp:txXfrm>
    </dsp:sp>
    <dsp:sp modelId="{B1138DF9-C2E4-420E-9E75-596992671785}">
      <dsp:nvSpPr>
        <dsp:cNvPr id="0" name=""/>
        <dsp:cNvSpPr/>
      </dsp:nvSpPr>
      <dsp:spPr>
        <a:xfrm>
          <a:off x="9944" y="1811415"/>
          <a:ext cx="1025404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System / Solution Architect</a:t>
          </a:r>
          <a:endParaRPr lang="en-US" sz="1500" kern="1200" dirty="0"/>
        </a:p>
      </dsp:txBody>
      <dsp:txXfrm>
        <a:off x="39977" y="1841448"/>
        <a:ext cx="965338" cy="1613003"/>
      </dsp:txXfrm>
    </dsp:sp>
    <dsp:sp modelId="{B2883A50-DE0C-4F1A-B3FF-DBE7EC7412F4}">
      <dsp:nvSpPr>
        <dsp:cNvPr id="0" name=""/>
        <dsp:cNvSpPr/>
      </dsp:nvSpPr>
      <dsp:spPr>
        <a:xfrm>
          <a:off x="1121483" y="1811415"/>
          <a:ext cx="1161680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usiness Analyst</a:t>
          </a:r>
          <a:endParaRPr lang="en-US" sz="1600" kern="1200" dirty="0"/>
        </a:p>
      </dsp:txBody>
      <dsp:txXfrm>
        <a:off x="1155507" y="1845439"/>
        <a:ext cx="1093632" cy="1605021"/>
      </dsp:txXfrm>
    </dsp:sp>
    <dsp:sp modelId="{8286E984-BFD9-4D1B-88E8-7D1950B68125}">
      <dsp:nvSpPr>
        <dsp:cNvPr id="0" name=""/>
        <dsp:cNvSpPr/>
      </dsp:nvSpPr>
      <dsp:spPr>
        <a:xfrm>
          <a:off x="1189621" y="3621090"/>
          <a:ext cx="1025404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ata Modeler</a:t>
          </a:r>
          <a:endParaRPr lang="en-US" sz="1600" kern="1200" dirty="0"/>
        </a:p>
      </dsp:txBody>
      <dsp:txXfrm>
        <a:off x="1219654" y="3651123"/>
        <a:ext cx="965338" cy="1613003"/>
      </dsp:txXfrm>
    </dsp:sp>
    <dsp:sp modelId="{AC536893-BD10-48BA-A609-B49FFC1B83FB}">
      <dsp:nvSpPr>
        <dsp:cNvPr id="0" name=""/>
        <dsp:cNvSpPr/>
      </dsp:nvSpPr>
      <dsp:spPr>
        <a:xfrm>
          <a:off x="2369297" y="1811415"/>
          <a:ext cx="4230818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Development Team Leader</a:t>
          </a:r>
          <a:endParaRPr lang="en-US" sz="2400" kern="1200" dirty="0"/>
        </a:p>
      </dsp:txBody>
      <dsp:txXfrm>
        <a:off x="2418300" y="1860418"/>
        <a:ext cx="4132812" cy="1575063"/>
      </dsp:txXfrm>
    </dsp:sp>
    <dsp:sp modelId="{7CAC1C98-C4EF-449D-BE9A-BEB19E11A300}">
      <dsp:nvSpPr>
        <dsp:cNvPr id="0" name=""/>
        <dsp:cNvSpPr/>
      </dsp:nvSpPr>
      <dsp:spPr>
        <a:xfrm>
          <a:off x="2369297" y="3621090"/>
          <a:ext cx="1025404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QA Engineer</a:t>
          </a:r>
          <a:endParaRPr lang="en-US" sz="1300" kern="1200" dirty="0"/>
        </a:p>
      </dsp:txBody>
      <dsp:txXfrm>
        <a:off x="2399330" y="3651123"/>
        <a:ext cx="965338" cy="1613003"/>
      </dsp:txXfrm>
    </dsp:sp>
    <dsp:sp modelId="{0087ED63-48AB-49A5-84A1-EEFF1CFACB30}">
      <dsp:nvSpPr>
        <dsp:cNvPr id="0" name=""/>
        <dsp:cNvSpPr/>
      </dsp:nvSpPr>
      <dsp:spPr>
        <a:xfrm>
          <a:off x="3437769" y="3621090"/>
          <a:ext cx="1025404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BI Developer</a:t>
          </a:r>
          <a:endParaRPr lang="en-US" sz="1300" kern="1200" dirty="0"/>
        </a:p>
      </dsp:txBody>
      <dsp:txXfrm>
        <a:off x="3467802" y="3651123"/>
        <a:ext cx="965338" cy="1613003"/>
      </dsp:txXfrm>
    </dsp:sp>
    <dsp:sp modelId="{3324C3F2-1132-47DA-8E52-1928B1166664}">
      <dsp:nvSpPr>
        <dsp:cNvPr id="0" name=""/>
        <dsp:cNvSpPr/>
      </dsp:nvSpPr>
      <dsp:spPr>
        <a:xfrm>
          <a:off x="4506240" y="3621090"/>
          <a:ext cx="1025404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i="0" u="none" kern="1200" dirty="0" smtClean="0"/>
            <a:t>ETL Developer</a:t>
          </a:r>
          <a:endParaRPr lang="en-US" sz="1300" kern="1200" dirty="0"/>
        </a:p>
      </dsp:txBody>
      <dsp:txXfrm>
        <a:off x="4536273" y="3651123"/>
        <a:ext cx="965338" cy="1613003"/>
      </dsp:txXfrm>
    </dsp:sp>
    <dsp:sp modelId="{9B7B1AAD-2A48-48FD-B8D3-9DD0AEECF72A}">
      <dsp:nvSpPr>
        <dsp:cNvPr id="0" name=""/>
        <dsp:cNvSpPr/>
      </dsp:nvSpPr>
      <dsp:spPr>
        <a:xfrm>
          <a:off x="5574712" y="3621090"/>
          <a:ext cx="1025404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DBA</a:t>
          </a:r>
          <a:endParaRPr lang="en-US" sz="1300" kern="1200" dirty="0"/>
        </a:p>
      </dsp:txBody>
      <dsp:txXfrm>
        <a:off x="5604745" y="3651123"/>
        <a:ext cx="965338" cy="1613003"/>
      </dsp:txXfrm>
    </dsp:sp>
    <dsp:sp modelId="{3013A8D8-59B7-4F0F-A617-A1B9E5065208}">
      <dsp:nvSpPr>
        <dsp:cNvPr id="0" name=""/>
        <dsp:cNvSpPr/>
      </dsp:nvSpPr>
      <dsp:spPr>
        <a:xfrm>
          <a:off x="6686250" y="1811415"/>
          <a:ext cx="1025404" cy="16730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0" i="0" u="none" kern="1200" dirty="0" smtClean="0"/>
            <a:t>UX Expert</a:t>
          </a:r>
          <a:endParaRPr lang="en-US" sz="1500" kern="1200" dirty="0"/>
        </a:p>
      </dsp:txBody>
      <dsp:txXfrm>
        <a:off x="6716283" y="1841448"/>
        <a:ext cx="965338" cy="161300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0F0725-C5D2-49E2-ADE8-759ED42C2B48}">
      <dsp:nvSpPr>
        <dsp:cNvPr id="0" name=""/>
        <dsp:cNvSpPr/>
      </dsp:nvSpPr>
      <dsp:spPr>
        <a:xfrm rot="5400000">
          <a:off x="1380223" y="897116"/>
          <a:ext cx="787863" cy="89695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443D6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91F2E3-4824-4804-AEBA-52D3DCE4E9BC}">
      <dsp:nvSpPr>
        <dsp:cNvPr id="0" name=""/>
        <dsp:cNvSpPr/>
      </dsp:nvSpPr>
      <dsp:spPr>
        <a:xfrm>
          <a:off x="1193981" y="23754"/>
          <a:ext cx="1326297" cy="928365"/>
        </a:xfrm>
        <a:prstGeom prst="roundRect">
          <a:avLst>
            <a:gd name="adj" fmla="val 1667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HL Scope, design &amp; Architecture</a:t>
          </a:r>
          <a:endParaRPr lang="he-IL" sz="1300" kern="1200" dirty="0"/>
        </a:p>
      </dsp:txBody>
      <dsp:txXfrm>
        <a:off x="1239308" y="69081"/>
        <a:ext cx="1235643" cy="837711"/>
      </dsp:txXfrm>
    </dsp:sp>
    <dsp:sp modelId="{9CE511AE-94A4-4F2C-8B83-DEFA35DD7E82}">
      <dsp:nvSpPr>
        <dsp:cNvPr id="0" name=""/>
        <dsp:cNvSpPr/>
      </dsp:nvSpPr>
      <dsp:spPr>
        <a:xfrm>
          <a:off x="2497785" y="112295"/>
          <a:ext cx="964622" cy="750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25A5DA-5246-468E-87F9-F6E845A4ED0D}">
      <dsp:nvSpPr>
        <dsp:cNvPr id="0" name=""/>
        <dsp:cNvSpPr/>
      </dsp:nvSpPr>
      <dsp:spPr>
        <a:xfrm rot="5400000">
          <a:off x="2613977" y="1961682"/>
          <a:ext cx="787863" cy="89695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ED19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15EDBA-1AA3-47FC-B189-CA9235F6AD10}">
      <dsp:nvSpPr>
        <dsp:cNvPr id="0" name=""/>
        <dsp:cNvSpPr/>
      </dsp:nvSpPr>
      <dsp:spPr>
        <a:xfrm>
          <a:off x="2228064" y="1314702"/>
          <a:ext cx="1326297" cy="928365"/>
        </a:xfrm>
        <a:prstGeom prst="roundRect">
          <a:avLst>
            <a:gd name="adj" fmla="val 1667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Development</a:t>
          </a:r>
          <a:endParaRPr lang="he-IL" sz="1300" kern="1200" dirty="0"/>
        </a:p>
      </dsp:txBody>
      <dsp:txXfrm>
        <a:off x="2273391" y="1360029"/>
        <a:ext cx="1235643" cy="837711"/>
      </dsp:txXfrm>
    </dsp:sp>
    <dsp:sp modelId="{80125342-9733-4E0E-AC2F-E00909F3A55D}">
      <dsp:nvSpPr>
        <dsp:cNvPr id="0" name=""/>
        <dsp:cNvSpPr/>
      </dsp:nvSpPr>
      <dsp:spPr>
        <a:xfrm>
          <a:off x="3609726" y="1213225"/>
          <a:ext cx="964622" cy="750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EAA241-53B7-421D-8A0C-4B981FDF6264}">
      <dsp:nvSpPr>
        <dsp:cNvPr id="0" name=""/>
        <dsp:cNvSpPr/>
      </dsp:nvSpPr>
      <dsp:spPr>
        <a:xfrm rot="5400000">
          <a:off x="3664852" y="2982837"/>
          <a:ext cx="787863" cy="89695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443D6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08C895-7A1B-4F72-A5D9-D62B4D34D750}">
      <dsp:nvSpPr>
        <dsp:cNvPr id="0" name=""/>
        <dsp:cNvSpPr/>
      </dsp:nvSpPr>
      <dsp:spPr>
        <a:xfrm>
          <a:off x="3456116" y="2109475"/>
          <a:ext cx="1326297" cy="928365"/>
        </a:xfrm>
        <a:prstGeom prst="roundRect">
          <a:avLst>
            <a:gd name="adj" fmla="val 1667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Testing</a:t>
          </a:r>
          <a:endParaRPr lang="he-IL" sz="1300" kern="1200" dirty="0"/>
        </a:p>
      </dsp:txBody>
      <dsp:txXfrm>
        <a:off x="3501443" y="2154802"/>
        <a:ext cx="1235643" cy="837711"/>
      </dsp:txXfrm>
    </dsp:sp>
    <dsp:sp modelId="{6E595C6F-641A-4481-BE5B-B592190C6B24}">
      <dsp:nvSpPr>
        <dsp:cNvPr id="0" name=""/>
        <dsp:cNvSpPr/>
      </dsp:nvSpPr>
      <dsp:spPr>
        <a:xfrm>
          <a:off x="3370559" y="1231991"/>
          <a:ext cx="3787909" cy="750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27300E-AD63-4F9D-B594-1392D2D76FF0}">
      <dsp:nvSpPr>
        <dsp:cNvPr id="0" name=""/>
        <dsp:cNvSpPr/>
      </dsp:nvSpPr>
      <dsp:spPr>
        <a:xfrm>
          <a:off x="4470413" y="3152336"/>
          <a:ext cx="1326297" cy="928365"/>
        </a:xfrm>
        <a:prstGeom prst="roundRect">
          <a:avLst>
            <a:gd name="adj" fmla="val 1667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Release</a:t>
          </a:r>
          <a:endParaRPr lang="he-IL" sz="1300" kern="1200" dirty="0"/>
        </a:p>
      </dsp:txBody>
      <dsp:txXfrm>
        <a:off x="4515740" y="3197663"/>
        <a:ext cx="1235643" cy="83771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D6FCAD-C39C-4821-8412-7B4422841F1B}">
      <dsp:nvSpPr>
        <dsp:cNvPr id="0" name=""/>
        <dsp:cNvSpPr/>
      </dsp:nvSpPr>
      <dsp:spPr>
        <a:xfrm>
          <a:off x="1440160" y="0"/>
          <a:ext cx="1440160" cy="1421415"/>
        </a:xfrm>
        <a:prstGeom prst="trapezoid">
          <a:avLst>
            <a:gd name="adj" fmla="val 50659"/>
          </a:avLst>
        </a:prstGeom>
        <a:solidFill>
          <a:srgbClr val="ED19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 dirty="0" smtClean="0">
            <a:solidFill>
              <a:srgbClr val="FFFFFF"/>
            </a:solidFill>
          </a:endParaRPr>
        </a:p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 dirty="0" smtClean="0">
            <a:solidFill>
              <a:srgbClr val="FFFFFF"/>
            </a:solidFill>
          </a:endParaRPr>
        </a:p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rgbClr val="FFFFFF"/>
              </a:solidFill>
            </a:rPr>
            <a:t>Users</a:t>
          </a:r>
        </a:p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rgbClr val="FFFFFF"/>
              </a:solidFill>
            </a:rPr>
            <a:t>Need</a:t>
          </a:r>
          <a:endParaRPr lang="he-IL" sz="1800" kern="1200" dirty="0">
            <a:solidFill>
              <a:srgbClr val="FFFFFF"/>
            </a:solidFill>
          </a:endParaRPr>
        </a:p>
      </dsp:txBody>
      <dsp:txXfrm>
        <a:off x="1440160" y="0"/>
        <a:ext cx="1440160" cy="1421415"/>
      </dsp:txXfrm>
    </dsp:sp>
    <dsp:sp modelId="{0792B022-82FB-4873-99BA-E5DC24037656}">
      <dsp:nvSpPr>
        <dsp:cNvPr id="0" name=""/>
        <dsp:cNvSpPr/>
      </dsp:nvSpPr>
      <dsp:spPr>
        <a:xfrm>
          <a:off x="720080" y="1421415"/>
          <a:ext cx="2880320" cy="1421415"/>
        </a:xfrm>
        <a:prstGeom prst="trapezoid">
          <a:avLst>
            <a:gd name="adj" fmla="val 50659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rgbClr val="FFFFFF"/>
              </a:solidFill>
            </a:rPr>
            <a:t>Map data in different sources</a:t>
          </a:r>
          <a:endParaRPr lang="he-IL" sz="1800" kern="1200" dirty="0">
            <a:solidFill>
              <a:srgbClr val="FFFFFF"/>
            </a:solidFill>
          </a:endParaRPr>
        </a:p>
      </dsp:txBody>
      <dsp:txXfrm>
        <a:off x="1224135" y="1421415"/>
        <a:ext cx="1872208" cy="1421415"/>
      </dsp:txXfrm>
    </dsp:sp>
    <dsp:sp modelId="{7EE1E79D-48D3-457B-8C63-5FB68D1203F2}">
      <dsp:nvSpPr>
        <dsp:cNvPr id="0" name=""/>
        <dsp:cNvSpPr/>
      </dsp:nvSpPr>
      <dsp:spPr>
        <a:xfrm>
          <a:off x="0" y="2842831"/>
          <a:ext cx="4320480" cy="1421415"/>
        </a:xfrm>
        <a:prstGeom prst="trapezoid">
          <a:avLst>
            <a:gd name="adj" fmla="val 50659"/>
          </a:avLst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rgbClr val="FFFFFF"/>
              </a:solidFill>
            </a:rPr>
            <a:t>Construction of the Datawarehouse</a:t>
          </a:r>
          <a:endParaRPr lang="he-IL" sz="1800" kern="1200" dirty="0">
            <a:solidFill>
              <a:srgbClr val="FFFFFF"/>
            </a:solidFill>
          </a:endParaRPr>
        </a:p>
      </dsp:txBody>
      <dsp:txXfrm>
        <a:off x="756083" y="2842831"/>
        <a:ext cx="2808312" cy="142141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71432-935F-418F-8EB1-EA1A43050BB1}">
      <dsp:nvSpPr>
        <dsp:cNvPr id="0" name=""/>
        <dsp:cNvSpPr/>
      </dsp:nvSpPr>
      <dsp:spPr>
        <a:xfrm>
          <a:off x="-5138230" y="-787415"/>
          <a:ext cx="6121431" cy="6121431"/>
        </a:xfrm>
        <a:prstGeom prst="blockArc">
          <a:avLst>
            <a:gd name="adj1" fmla="val 18900000"/>
            <a:gd name="adj2" fmla="val 2700000"/>
            <a:gd name="adj3" fmla="val 353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6EF88F-9E94-4F03-8913-E60B0241E7EB}">
      <dsp:nvSpPr>
        <dsp:cNvPr id="0" name=""/>
        <dsp:cNvSpPr/>
      </dsp:nvSpPr>
      <dsp:spPr>
        <a:xfrm>
          <a:off x="318944" y="206688"/>
          <a:ext cx="6962772" cy="41319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974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ata extraction</a:t>
          </a:r>
        </a:p>
      </dsp:txBody>
      <dsp:txXfrm>
        <a:off x="318944" y="206688"/>
        <a:ext cx="6962772" cy="413195"/>
      </dsp:txXfrm>
    </dsp:sp>
    <dsp:sp modelId="{732B63A8-7001-4434-BD69-554A51DC8A3C}">
      <dsp:nvSpPr>
        <dsp:cNvPr id="0" name=""/>
        <dsp:cNvSpPr/>
      </dsp:nvSpPr>
      <dsp:spPr>
        <a:xfrm>
          <a:off x="60697" y="155039"/>
          <a:ext cx="516493" cy="5164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0F85EA-3EE6-4E25-A88F-5842DF781852}">
      <dsp:nvSpPr>
        <dsp:cNvPr id="0" name=""/>
        <dsp:cNvSpPr/>
      </dsp:nvSpPr>
      <dsp:spPr>
        <a:xfrm>
          <a:off x="693129" y="826844"/>
          <a:ext cx="6588587" cy="41319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974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smtClean="0"/>
            <a:t>Data Staging</a:t>
          </a:r>
          <a:endParaRPr lang="en-US" sz="2100" kern="1200" dirty="0"/>
        </a:p>
      </dsp:txBody>
      <dsp:txXfrm>
        <a:off x="693129" y="826844"/>
        <a:ext cx="6588587" cy="413195"/>
      </dsp:txXfrm>
    </dsp:sp>
    <dsp:sp modelId="{990128D4-9D68-43FE-B44C-02E4F512763B}">
      <dsp:nvSpPr>
        <dsp:cNvPr id="0" name=""/>
        <dsp:cNvSpPr/>
      </dsp:nvSpPr>
      <dsp:spPr>
        <a:xfrm>
          <a:off x="434882" y="775195"/>
          <a:ext cx="516493" cy="5164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DDF033-1C3F-44BE-99F0-3D544B41FD2B}">
      <dsp:nvSpPr>
        <dsp:cNvPr id="0" name=""/>
        <dsp:cNvSpPr/>
      </dsp:nvSpPr>
      <dsp:spPr>
        <a:xfrm>
          <a:off x="898181" y="1446546"/>
          <a:ext cx="6383535" cy="413195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974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smtClean="0"/>
            <a:t>Data transformation</a:t>
          </a:r>
          <a:endParaRPr lang="en-US" sz="2100" kern="1200" dirty="0"/>
        </a:p>
      </dsp:txBody>
      <dsp:txXfrm>
        <a:off x="898181" y="1446546"/>
        <a:ext cx="6383535" cy="413195"/>
      </dsp:txXfrm>
    </dsp:sp>
    <dsp:sp modelId="{A87DC7F0-8038-432B-BCBD-7A04E4029340}">
      <dsp:nvSpPr>
        <dsp:cNvPr id="0" name=""/>
        <dsp:cNvSpPr/>
      </dsp:nvSpPr>
      <dsp:spPr>
        <a:xfrm>
          <a:off x="639934" y="1394897"/>
          <a:ext cx="516493" cy="5164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DBD24B-BA4E-423B-9E63-B7AD618CAD5A}">
      <dsp:nvSpPr>
        <dsp:cNvPr id="0" name=""/>
        <dsp:cNvSpPr/>
      </dsp:nvSpPr>
      <dsp:spPr>
        <a:xfrm>
          <a:off x="963652" y="2066702"/>
          <a:ext cx="6318064" cy="41319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974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smtClean="0"/>
            <a:t>Data Loading</a:t>
          </a:r>
          <a:endParaRPr lang="en-US" sz="2100" kern="1200" dirty="0"/>
        </a:p>
      </dsp:txBody>
      <dsp:txXfrm>
        <a:off x="963652" y="2066702"/>
        <a:ext cx="6318064" cy="413195"/>
      </dsp:txXfrm>
    </dsp:sp>
    <dsp:sp modelId="{347EFA7E-7E44-4191-A7FB-58CF9E508FE2}">
      <dsp:nvSpPr>
        <dsp:cNvPr id="0" name=""/>
        <dsp:cNvSpPr/>
      </dsp:nvSpPr>
      <dsp:spPr>
        <a:xfrm>
          <a:off x="705405" y="2015053"/>
          <a:ext cx="516493" cy="5164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D964DF-B060-4951-AE43-788D8E2CB908}">
      <dsp:nvSpPr>
        <dsp:cNvPr id="0" name=""/>
        <dsp:cNvSpPr/>
      </dsp:nvSpPr>
      <dsp:spPr>
        <a:xfrm>
          <a:off x="898181" y="2686859"/>
          <a:ext cx="6383535" cy="413195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974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imensional Modeling</a:t>
          </a:r>
          <a:endParaRPr lang="en-US" sz="2100" kern="1200" dirty="0"/>
        </a:p>
      </dsp:txBody>
      <dsp:txXfrm>
        <a:off x="898181" y="2686859"/>
        <a:ext cx="6383535" cy="413195"/>
      </dsp:txXfrm>
    </dsp:sp>
    <dsp:sp modelId="{0B61A90B-997E-4CEF-8930-D8FD01DF341B}">
      <dsp:nvSpPr>
        <dsp:cNvPr id="0" name=""/>
        <dsp:cNvSpPr/>
      </dsp:nvSpPr>
      <dsp:spPr>
        <a:xfrm>
          <a:off x="639934" y="2635209"/>
          <a:ext cx="516493" cy="5164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058533-7A69-4FC8-A38C-6B64C7742ED8}">
      <dsp:nvSpPr>
        <dsp:cNvPr id="0" name=""/>
        <dsp:cNvSpPr/>
      </dsp:nvSpPr>
      <dsp:spPr>
        <a:xfrm>
          <a:off x="693129" y="3306561"/>
          <a:ext cx="6588587" cy="41319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974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smtClean="0"/>
            <a:t>Relational Partitioning</a:t>
          </a:r>
          <a:endParaRPr lang="en-US" sz="2100" kern="1200" dirty="0"/>
        </a:p>
      </dsp:txBody>
      <dsp:txXfrm>
        <a:off x="693129" y="3306561"/>
        <a:ext cx="6588587" cy="413195"/>
      </dsp:txXfrm>
    </dsp:sp>
    <dsp:sp modelId="{FFF049AE-C54A-4D31-908C-A502B61505BE}">
      <dsp:nvSpPr>
        <dsp:cNvPr id="0" name=""/>
        <dsp:cNvSpPr/>
      </dsp:nvSpPr>
      <dsp:spPr>
        <a:xfrm>
          <a:off x="434882" y="3254911"/>
          <a:ext cx="516493" cy="5164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0BB581-449A-4E43-88E0-9AC805893AB6}">
      <dsp:nvSpPr>
        <dsp:cNvPr id="0" name=""/>
        <dsp:cNvSpPr/>
      </dsp:nvSpPr>
      <dsp:spPr>
        <a:xfrm>
          <a:off x="318944" y="3926717"/>
          <a:ext cx="6962772" cy="41319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974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OLAP and </a:t>
          </a:r>
          <a:r>
            <a:rPr lang="en-US" sz="2100" kern="1200" dirty="0" err="1" smtClean="0"/>
            <a:t>InMemory</a:t>
          </a:r>
          <a:r>
            <a:rPr lang="en-US" sz="2100" kern="1200" dirty="0" smtClean="0"/>
            <a:t> Databases</a:t>
          </a:r>
          <a:endParaRPr lang="en-US" sz="2100" kern="1200" dirty="0"/>
        </a:p>
      </dsp:txBody>
      <dsp:txXfrm>
        <a:off x="318944" y="3926717"/>
        <a:ext cx="6962772" cy="413195"/>
      </dsp:txXfrm>
    </dsp:sp>
    <dsp:sp modelId="{1DAF4C77-2822-46D2-BF72-F99946346FF6}">
      <dsp:nvSpPr>
        <dsp:cNvPr id="0" name=""/>
        <dsp:cNvSpPr/>
      </dsp:nvSpPr>
      <dsp:spPr>
        <a:xfrm>
          <a:off x="60697" y="3875068"/>
          <a:ext cx="516493" cy="5164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71432-935F-418F-8EB1-EA1A43050BB1}">
      <dsp:nvSpPr>
        <dsp:cNvPr id="0" name=""/>
        <dsp:cNvSpPr/>
      </dsp:nvSpPr>
      <dsp:spPr>
        <a:xfrm>
          <a:off x="-5140341" y="-787415"/>
          <a:ext cx="6121431" cy="6121431"/>
        </a:xfrm>
        <a:prstGeom prst="blockArc">
          <a:avLst>
            <a:gd name="adj1" fmla="val 18900000"/>
            <a:gd name="adj2" fmla="val 2700000"/>
            <a:gd name="adj3" fmla="val 353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6EF88F-9E94-4F03-8913-E60B0241E7EB}">
      <dsp:nvSpPr>
        <dsp:cNvPr id="0" name=""/>
        <dsp:cNvSpPr/>
      </dsp:nvSpPr>
      <dsp:spPr>
        <a:xfrm>
          <a:off x="513700" y="349542"/>
          <a:ext cx="6765904" cy="69944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188" tIns="91440" rIns="91440" bIns="9144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Data extraction</a:t>
          </a:r>
        </a:p>
      </dsp:txBody>
      <dsp:txXfrm>
        <a:off x="513700" y="349542"/>
        <a:ext cx="6765904" cy="699449"/>
      </dsp:txXfrm>
    </dsp:sp>
    <dsp:sp modelId="{732B63A8-7001-4434-BD69-554A51DC8A3C}">
      <dsp:nvSpPr>
        <dsp:cNvPr id="0" name=""/>
        <dsp:cNvSpPr/>
      </dsp:nvSpPr>
      <dsp:spPr>
        <a:xfrm>
          <a:off x="76544" y="262111"/>
          <a:ext cx="874311" cy="87431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0F85EA-3EE6-4E25-A88F-5842DF781852}">
      <dsp:nvSpPr>
        <dsp:cNvPr id="0" name=""/>
        <dsp:cNvSpPr/>
      </dsp:nvSpPr>
      <dsp:spPr>
        <a:xfrm>
          <a:off x="914710" y="1398898"/>
          <a:ext cx="6364894" cy="69944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188" tIns="91440" rIns="91440" bIns="9144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smtClean="0"/>
            <a:t>Data Staging</a:t>
          </a:r>
          <a:endParaRPr lang="en-US" sz="3600" kern="1200" dirty="0"/>
        </a:p>
      </dsp:txBody>
      <dsp:txXfrm>
        <a:off x="914710" y="1398898"/>
        <a:ext cx="6364894" cy="699449"/>
      </dsp:txXfrm>
    </dsp:sp>
    <dsp:sp modelId="{990128D4-9D68-43FE-B44C-02E4F512763B}">
      <dsp:nvSpPr>
        <dsp:cNvPr id="0" name=""/>
        <dsp:cNvSpPr/>
      </dsp:nvSpPr>
      <dsp:spPr>
        <a:xfrm>
          <a:off x="477554" y="1311467"/>
          <a:ext cx="874311" cy="87431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DDF033-1C3F-44BE-99F0-3D544B41FD2B}">
      <dsp:nvSpPr>
        <dsp:cNvPr id="0" name=""/>
        <dsp:cNvSpPr/>
      </dsp:nvSpPr>
      <dsp:spPr>
        <a:xfrm>
          <a:off x="914710" y="2448253"/>
          <a:ext cx="6364894" cy="69944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188" tIns="91440" rIns="91440" bIns="9144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smtClean="0"/>
            <a:t>Data transformation</a:t>
          </a:r>
          <a:endParaRPr lang="en-US" sz="3600" kern="1200" dirty="0"/>
        </a:p>
      </dsp:txBody>
      <dsp:txXfrm>
        <a:off x="914710" y="2448253"/>
        <a:ext cx="6364894" cy="699449"/>
      </dsp:txXfrm>
    </dsp:sp>
    <dsp:sp modelId="{A87DC7F0-8038-432B-BCBD-7A04E4029340}">
      <dsp:nvSpPr>
        <dsp:cNvPr id="0" name=""/>
        <dsp:cNvSpPr/>
      </dsp:nvSpPr>
      <dsp:spPr>
        <a:xfrm>
          <a:off x="477554" y="2360822"/>
          <a:ext cx="874311" cy="87431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DBD24B-BA4E-423B-9E63-B7AD618CAD5A}">
      <dsp:nvSpPr>
        <dsp:cNvPr id="0" name=""/>
        <dsp:cNvSpPr/>
      </dsp:nvSpPr>
      <dsp:spPr>
        <a:xfrm>
          <a:off x="513700" y="3497609"/>
          <a:ext cx="6765904" cy="69944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188" tIns="91440" rIns="91440" bIns="9144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smtClean="0"/>
            <a:t>Data Loading</a:t>
          </a:r>
          <a:endParaRPr lang="en-US" sz="3600" kern="1200" dirty="0"/>
        </a:p>
      </dsp:txBody>
      <dsp:txXfrm>
        <a:off x="513700" y="3497609"/>
        <a:ext cx="6765904" cy="699449"/>
      </dsp:txXfrm>
    </dsp:sp>
    <dsp:sp modelId="{347EFA7E-7E44-4191-A7FB-58CF9E508FE2}">
      <dsp:nvSpPr>
        <dsp:cNvPr id="0" name=""/>
        <dsp:cNvSpPr/>
      </dsp:nvSpPr>
      <dsp:spPr>
        <a:xfrm>
          <a:off x="76544" y="3410178"/>
          <a:ext cx="874311" cy="87431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AB652D-4924-4F35-8F52-7BDC900EBADB}">
      <dsp:nvSpPr>
        <dsp:cNvPr id="0" name=""/>
        <dsp:cNvSpPr/>
      </dsp:nvSpPr>
      <dsp:spPr>
        <a:xfrm>
          <a:off x="2032614" y="1081391"/>
          <a:ext cx="2586583" cy="2586583"/>
        </a:xfrm>
        <a:prstGeom prst="ellipse">
          <a:avLst/>
        </a:prstGeom>
        <a:solidFill>
          <a:schemeClr val="accent1">
            <a:hueOff val="0"/>
            <a:satOff val="0"/>
            <a:lum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1"/>
              </a:solidFill>
            </a:rPr>
            <a:t>Data Integration Tool</a:t>
          </a:r>
        </a:p>
      </dsp:txBody>
      <dsp:txXfrm>
        <a:off x="2411410" y="1460187"/>
        <a:ext cx="1828991" cy="1828991"/>
      </dsp:txXfrm>
    </dsp:sp>
    <dsp:sp modelId="{B827B176-2B3F-41AC-8177-C05C83FB1509}">
      <dsp:nvSpPr>
        <dsp:cNvPr id="0" name=""/>
        <dsp:cNvSpPr/>
      </dsp:nvSpPr>
      <dsp:spPr>
        <a:xfrm>
          <a:off x="2679260" y="42626"/>
          <a:ext cx="1293291" cy="1293291"/>
        </a:xfrm>
        <a:prstGeom prst="ellipse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bg1"/>
              </a:solidFill>
            </a:rPr>
            <a:t>Access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2868658" y="232024"/>
        <a:ext cx="914495" cy="914495"/>
      </dsp:txXfrm>
    </dsp:sp>
    <dsp:sp modelId="{1A85BFF7-D8DB-486C-A68D-5FD593F728E4}">
      <dsp:nvSpPr>
        <dsp:cNvPr id="0" name=""/>
        <dsp:cNvSpPr/>
      </dsp:nvSpPr>
      <dsp:spPr>
        <a:xfrm>
          <a:off x="3996967" y="677201"/>
          <a:ext cx="1293291" cy="1293291"/>
        </a:xfrm>
        <a:prstGeom prst="ellipse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bg1"/>
              </a:solidFill>
            </a:rPr>
            <a:t>Discover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4186365" y="866599"/>
        <a:ext cx="914495" cy="914495"/>
      </dsp:txXfrm>
    </dsp:sp>
    <dsp:sp modelId="{2E24A924-4F35-4207-9857-4A6E755AD1A0}">
      <dsp:nvSpPr>
        <dsp:cNvPr id="0" name=""/>
        <dsp:cNvSpPr/>
      </dsp:nvSpPr>
      <dsp:spPr>
        <a:xfrm>
          <a:off x="4322414" y="2103076"/>
          <a:ext cx="1293291" cy="1293291"/>
        </a:xfrm>
        <a:prstGeom prst="ellipse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bg1"/>
              </a:solidFill>
            </a:rPr>
            <a:t>Cleans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4511812" y="2292474"/>
        <a:ext cx="914495" cy="914495"/>
      </dsp:txXfrm>
    </dsp:sp>
    <dsp:sp modelId="{523811AE-796B-44E2-9090-EEE34026654A}">
      <dsp:nvSpPr>
        <dsp:cNvPr id="0" name=""/>
        <dsp:cNvSpPr/>
      </dsp:nvSpPr>
      <dsp:spPr>
        <a:xfrm>
          <a:off x="3410532" y="3246540"/>
          <a:ext cx="1293291" cy="1293291"/>
        </a:xfrm>
        <a:prstGeom prst="ellipse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bg1"/>
              </a:solidFill>
            </a:rPr>
            <a:t>Integrate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3599930" y="3435938"/>
        <a:ext cx="914495" cy="914495"/>
      </dsp:txXfrm>
    </dsp:sp>
    <dsp:sp modelId="{74D76BA9-C5BA-4A56-9A7F-081F2B973A20}">
      <dsp:nvSpPr>
        <dsp:cNvPr id="0" name=""/>
        <dsp:cNvSpPr/>
      </dsp:nvSpPr>
      <dsp:spPr>
        <a:xfrm>
          <a:off x="1947987" y="3246540"/>
          <a:ext cx="1293291" cy="1293291"/>
        </a:xfrm>
        <a:prstGeom prst="ellipse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bg1"/>
              </a:solidFill>
            </a:rPr>
            <a:t>Deliver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2137385" y="3435938"/>
        <a:ext cx="914495" cy="914495"/>
      </dsp:txXfrm>
    </dsp:sp>
    <dsp:sp modelId="{86F19945-CF5A-40F5-935A-BC25313206D0}">
      <dsp:nvSpPr>
        <dsp:cNvPr id="0" name=""/>
        <dsp:cNvSpPr/>
      </dsp:nvSpPr>
      <dsp:spPr>
        <a:xfrm>
          <a:off x="1036105" y="2103076"/>
          <a:ext cx="1293291" cy="1293291"/>
        </a:xfrm>
        <a:prstGeom prst="ellipse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bg1"/>
              </a:solidFill>
            </a:rPr>
            <a:t>Develop &amp; Manage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1225503" y="2292474"/>
        <a:ext cx="914495" cy="914495"/>
      </dsp:txXfrm>
    </dsp:sp>
    <dsp:sp modelId="{BA3AD813-B147-42EB-BECF-27E13528555A}">
      <dsp:nvSpPr>
        <dsp:cNvPr id="0" name=""/>
        <dsp:cNvSpPr/>
      </dsp:nvSpPr>
      <dsp:spPr>
        <a:xfrm>
          <a:off x="1361552" y="677201"/>
          <a:ext cx="1293291" cy="1293291"/>
        </a:xfrm>
        <a:prstGeom prst="ellipse">
          <a:avLst/>
        </a:prstGeom>
        <a:solidFill>
          <a:srgbClr val="4646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bg1"/>
              </a:solidFill>
            </a:rPr>
            <a:t>Audit, Monitor &amp; Report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1550950" y="866599"/>
        <a:ext cx="914495" cy="9144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BubblePictureList">
  <dgm:title val=""/>
  <dgm:desc val=""/>
  <dgm:catLst>
    <dgm:cat type="picture" pri="22000"/>
    <dgm:cat type="pictureconvert" pri="22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8"/>
      <dgm:chPref val="8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7423"/>
        </dgm:alg>
        <dgm:choose name="Name3">
          <dgm:if name="Name4" func="var" arg="dir" op="equ" val="norm">
            <dgm:constrLst>
              <dgm:constr type="primFontSz" for="des" ptType="node" op="equ" val="65"/>
              <dgm:constr type="l" for="ch" forName="parent_text_1" refType="w" fact="0"/>
              <dgm:constr type="t" for="ch" forName="parent_text_1" refType="h" fact="0"/>
              <dgm:constr type="w" for="ch" forName="parent_text_1" refType="w" fact="0.6457"/>
              <dgm:constr type="h" for="ch" forName="parent_text_1" refType="h" fact="0.225"/>
              <dgm:constr type="l" for="ch" forName="image_accent_1" refType="w" fact="0.4305"/>
              <dgm:constr type="t" for="ch" forName="image_accent_1" refType="h" fact="0.2417"/>
              <dgm:constr type="w" for="ch" forName="image_accent_1" refType="w" fact="0.4352"/>
              <dgm:constr type="h" for="ch" forName="image_accent_1" refType="h" fact="0.7583"/>
              <dgm:constr type="l" for="ch" forName="accent_1" refType="w" fact="0.8709"/>
              <dgm:constr type="t" for="ch" forName="accent_1" refType="h" fact="0.1491"/>
              <dgm:constr type="w" for="ch" forName="accent_1" refType="w" fact="0.1291"/>
              <dgm:constr type="h" for="ch" forName="accent_1" refType="h" fact="0.225"/>
              <dgm:constr type="l" for="ch" forName="image_1" refType="w" fact="0.4457"/>
              <dgm:constr type="t" for="ch" forName="image_1" refType="h" fact="0.2709"/>
              <dgm:constr type="w" for="ch" forName="image_1" refType="w" fact="0.4018"/>
              <dgm:constr type="h" for="ch" forName="image_1" refType="h" fact="0.7"/>
            </dgm:constrLst>
          </dgm:if>
          <dgm:else name="Name5">
            <dgm:constrLst>
              <dgm:constr type="primFontSz" for="des" ptType="node" op="equ" val="65"/>
              <dgm:constr type="l" for="ch" forName="parent_text_1" refType="w" fact="0.3543"/>
              <dgm:constr type="t" for="ch" forName="parent_text_1" refType="h" fact="0"/>
              <dgm:constr type="w" for="ch" forName="parent_text_1" refType="w" fact="0.6457"/>
              <dgm:constr type="h" for="ch" forName="parent_text_1" refType="h" fact="0.225"/>
              <dgm:constr type="l" for="ch" forName="image_accent_1" refType="w" fact="0.1344"/>
              <dgm:constr type="t" for="ch" forName="image_accent_1" refType="h" fact="0.2417"/>
              <dgm:constr type="w" for="ch" forName="image_accent_1" refType="w" fact="0.4352"/>
              <dgm:constr type="h" for="ch" forName="image_accent_1" refType="h" fact="0.7583"/>
              <dgm:constr type="l" for="ch" forName="accent_1" refType="w" fact="0"/>
              <dgm:constr type="t" for="ch" forName="accent_1" refType="h" fact="0.1491"/>
              <dgm:constr type="w" for="ch" forName="accent_1" refType="w" fact="0.1291"/>
              <dgm:constr type="h" for="ch" forName="accent_1" refType="h" fact="0.225"/>
              <dgm:constr type="l" for="ch" forName="image_1" refType="w" fact="0.1525"/>
              <dgm:constr type="t" for="ch" forName="image_1" refType="h" fact="0.2709"/>
              <dgm:constr type="w" for="ch" forName="image_1" refType="w" fact="0.4018"/>
              <dgm:constr type="h" for="ch" forName="image_1" refType="h" fact="0.7"/>
            </dgm:constrLst>
          </dgm:else>
        </dgm:choose>
      </dgm:if>
      <dgm:if name="Name6" axis="ch" ptType="node" func="cnt" op="equ" val="2">
        <dgm:alg type="composite">
          <dgm:param type="ar" val="3.193"/>
        </dgm:alg>
        <dgm:choose name="Name7">
          <dgm:if name="Name8" func="var" arg="dir" op="equ" val="norm">
            <dgm:constrLst>
              <dgm:constr type="primFontSz" for="des" ptType="node" op="equ" val="65"/>
              <dgm:constr type="l" for="ch" forName="image_accent_1" refType="w" fact="0.2342"/>
              <dgm:constr type="t" for="ch" forName="image_accent_1" refType="h" fact="0.2354"/>
              <dgm:constr type="w" for="ch" forName="image_accent_1" refType="w" fact="0.2394"/>
              <dgm:constr type="h" for="ch" forName="image_accent_1" refType="h" fact="0.7646"/>
              <dgm:constr type="l" for="ch" forName="image_1" refType="w" fact="0.2434"/>
              <dgm:constr type="t" for="ch" forName="image_1" refType="h" fact="0.2648"/>
              <dgm:constr type="w" for="ch" forName="image_1" refType="w" fact="0.2211"/>
              <dgm:constr type="h" for="ch" forName="image_1" refType="h" fact="0.7058"/>
              <dgm:constr type="l" for="ch" forName="parent_text_1" refType="w" fact="0"/>
              <dgm:constr type="t" for="ch" forName="parent_text_1" refType="h" fact="0"/>
              <dgm:constr type="w" for="ch" forName="parent_text_1" refType="w" fact="0.3553"/>
              <dgm:constr type="h" for="ch" forName="parent_text_1" refType="h" fact="0.215"/>
              <dgm:constr type="l" for="ch" forName="image_accent_2" refType="w" fact="0.5"/>
              <dgm:constr type="t" for="ch" forName="image_accent_2" refType="h" fact="0.3883"/>
              <dgm:constr type="w" for="ch" forName="image_accent_2" refType="w" fact="0.1253"/>
              <dgm:constr type="h" for="ch" forName="image_accent_2" refType="h" fact="0.4"/>
              <dgm:constr type="l" for="ch" forName="image_2" refType="w" fact="0.5074"/>
              <dgm:constr type="t" for="ch" forName="image_2" refType="h" fact="0.4118"/>
              <dgm:constr type="w" for="ch" forName="image_2" refType="w" fact="0.1105"/>
              <dgm:constr type="h" for="ch" forName="image_2" refType="h" fact="0.3529"/>
              <dgm:constr type="l" for="ch" forName="parent_text_2" refType="w" fact="0.6447"/>
              <dgm:constr type="t" for="ch" forName="parent_text_2" refType="h" fact="0.4118"/>
              <dgm:constr type="w" for="ch" forName="parent_text_2" refType="w" fact="0.3553"/>
              <dgm:constr type="h" for="ch" forName="parent_text_2" refType="h" fact="0.3529"/>
              <dgm:constr type="l" for="ch" forName="accent_1" refType="w" fact="0.6316"/>
              <dgm:constr type="t" for="ch" forName="accent_1" refType="h" fact="0.7899"/>
              <dgm:constr type="w" for="ch" forName="accent_1" refType="w" fact="0.0395"/>
              <dgm:constr type="h" for="ch" forName="accent_1" refType="h" fact="0.126"/>
            </dgm:constrLst>
          </dgm:if>
          <dgm:else name="Name9">
            <dgm:constrLst>
              <dgm:constr type="primFontSz" for="des" ptType="node" op="equ" val="65"/>
              <dgm:constr type="l" for="ch" forName="image_accent_2" refType="w" fact="0.3747"/>
              <dgm:constr type="t" for="ch" forName="image_accent_2" refType="h" fact="0.3883"/>
              <dgm:constr type="w" for="ch" forName="image_accent_2" refType="w" fact="0.1253"/>
              <dgm:constr type="h" for="ch" forName="image_accent_2" refType="h" fact="0.4"/>
              <dgm:constr type="l" for="ch" forName="image_2" refType="w" fact="0.3821"/>
              <dgm:constr type="t" for="ch" forName="image_2" refType="h" fact="0.4118"/>
              <dgm:constr type="w" for="ch" forName="image_2" refType="w" fact="0.1105"/>
              <dgm:constr type="h" for="ch" forName="image_2" refType="h" fact="0.3529"/>
              <dgm:constr type="l" for="ch" forName="parent_text_1" refType="w" fact="0.6447"/>
              <dgm:constr type="t" for="ch" forName="parent_text_1" refType="h" fact="0"/>
              <dgm:constr type="w" for="ch" forName="parent_text_1" refType="w" fact="0.3553"/>
              <dgm:constr type="h" for="ch" forName="parent_text_1" refType="h" fact="0.215"/>
              <dgm:constr type="l" for="ch" forName="parent_text_2" refType="w" fact="0"/>
              <dgm:constr type="t" for="ch" forName="parent_text_2" refType="h" fact="0.4118"/>
              <dgm:constr type="w" for="ch" forName="parent_text_2" refType="w" fact="0.3553"/>
              <dgm:constr type="h" for="ch" forName="parent_text_2" refType="h" fact="0.3529"/>
              <dgm:constr type="l" for="ch" forName="image_accent_1" refType="w" fact="0.5263"/>
              <dgm:constr type="t" for="ch" forName="image_accent_1" refType="h" fact="0.2354"/>
              <dgm:constr type="w" for="ch" forName="image_accent_1" refType="w" fact="0.2394"/>
              <dgm:constr type="h" for="ch" forName="image_accent_1" refType="h" fact="0.7646"/>
              <dgm:constr type="l" for="ch" forName="image_1" refType="w" fact="0.5355"/>
              <dgm:constr type="t" for="ch" forName="image_1" refType="h" fact="0.2648"/>
              <dgm:constr type="w" for="ch" forName="image_1" refType="w" fact="0.2211"/>
              <dgm:constr type="h" for="ch" forName="image_1" refType="h" fact="0.7058"/>
              <dgm:constr type="l" for="ch" forName="accent_1" refType="w" fact="0.3289"/>
              <dgm:constr type="t" for="ch" forName="accent_1" refType="h" fact="0.7899"/>
              <dgm:constr type="w" for="ch" forName="accent_1" refType="w" fact="0.0395"/>
              <dgm:constr type="h" for="ch" forName="accent_1" refType="h" fact="0.126"/>
            </dgm:constrLst>
          </dgm:else>
        </dgm:choose>
      </dgm:if>
      <dgm:if name="Name10" axis="ch" ptType="node" func="cnt" op="equ" val="3">
        <dgm:alg type="composite">
          <dgm:param type="ar" val="2.4052"/>
        </dgm:alg>
        <dgm:choose name="Name11">
          <dgm:if name="Name12" func="var" arg="dir" op="equ" val="norm">
            <dgm:constrLst>
              <dgm:constr type="primFontSz" for="des" ptType="node" op="equ" val="65"/>
              <dgm:constr type="l" for="ch" forName="accent_3" refType="w" fact="0.6316"/>
              <dgm:constr type="t" for="ch" forName="accent_3" refType="h" fact="0.8355"/>
              <dgm:constr type="w" for="ch" forName="accent_3" refType="w" fact="0.0395"/>
              <dgm:constr type="h" for="ch" forName="accent_3" refType="h" fact="0.0949"/>
              <dgm:constr type="l" for="ch" forName="image_accent_2" refType="w" fact="0.4936"/>
              <dgm:constr type="t" for="ch" forName="image_accent_2" refType="h" fact="0.5329"/>
              <dgm:constr type="w" for="ch" forName="image_accent_2" refType="w" fact="0.1253"/>
              <dgm:constr type="h" for="ch" forName="image_accent_2" refType="h" fact="0.3013"/>
              <dgm:constr type="l" for="ch" forName="image_2" refType="w" fact="0.501"/>
              <dgm:constr type="t" for="ch" forName="image_2" refType="h" fact="0.5507"/>
              <dgm:constr type="w" for="ch" forName="image_2" refType="w" fact="0.1105"/>
              <dgm:constr type="h" for="ch" forName="image_2" refType="h" fact="0.2658"/>
              <dgm:constr type="l" for="ch" forName="image_accent_3" refType="w" fact="0.4446"/>
              <dgm:constr type="t" for="ch" forName="image_accent_3" refType="h" fact="0.1076"/>
              <dgm:constr type="w" for="ch" forName="image_accent_3" refType="w" fact="0.1606"/>
              <dgm:constr type="h" for="ch" forName="image_accent_3" refType="h" fact="0.3864"/>
              <dgm:constr type="l" for="ch" forName="image_3" refType="w" fact="0.4531"/>
              <dgm:constr type="t" for="ch" forName="image_3" refType="h" fact="0.128"/>
              <dgm:constr type="w" for="ch" forName="image_3" refType="w" fact="0.1437"/>
              <dgm:constr type="h" for="ch" forName="image_3" refType="h" fact="0.3456"/>
              <dgm:constr type="l" for="ch" forName="image_accent_1" refType="w" fact="0.2368"/>
              <dgm:constr type="t" for="ch" forName="image_accent_1" refType="h" fact="0.4241"/>
              <dgm:constr type="w" for="ch" forName="image_accent_1" refType="w" fact="0.2394"/>
              <dgm:constr type="h" for="ch" forName="image_accent_1" refType="h" fact="0.5759"/>
              <dgm:constr type="l" for="ch" forName="image_1" refType="w" fact="0.246"/>
              <dgm:constr type="t" for="ch" forName="image_1" refType="h" fact="0.4462"/>
              <dgm:constr type="w" for="ch" forName="image_1" refType="w" fact="0.2211"/>
              <dgm:constr type="h" for="ch" forName="image_1" refType="h" fact="0.5317"/>
              <dgm:constr type="l" for="ch" forName="parent_text_1" refType="w" fact="0"/>
              <dgm:constr type="t" for="ch" forName="parent_text_1" refType="h" fact="0.128"/>
              <dgm:constr type="w" for="ch" forName="parent_text_1" refType="w" fact="0.3553"/>
              <dgm:constr type="h" for="ch" forName="parent_text_1" refType="h" fact="0.2775"/>
              <dgm:constr type="l" for="ch" forName="accent_1" refType="w" fact="0.3895"/>
              <dgm:constr type="t" for="ch" forName="accent_1" refType="h" fact="0"/>
              <dgm:constr type="w" for="ch" forName="accent_1" refType="w" fact="0.0711"/>
              <dgm:constr type="h" for="ch" forName="accent_1" refType="h" fact="0.1709"/>
              <dgm:constr type="l" for="ch" forName="parent_text_2" refType="w" fact="0.6447"/>
              <dgm:constr type="t" for="ch" forName="parent_text_2" refType="h" fact="0.5507"/>
              <dgm:constr type="w" for="ch" forName="parent_text_2" refType="w" fact="0.3553"/>
              <dgm:constr type="h" for="ch" forName="parent_text_2" refType="h" fact="0.2658"/>
              <dgm:constr type="l" for="ch" forName="parent_text_3" refType="w" fact="0.6316"/>
              <dgm:constr type="t" for="ch" forName="parent_text_3" refType="h" fact="0.128"/>
              <dgm:constr type="w" for="ch" forName="parent_text_3" refType="w" fact="0.3553"/>
              <dgm:constr type="h" for="ch" forName="parent_text_3" refType="h" fact="0.3456"/>
              <dgm:constr type="l" for="ch" forName="accent_2" refType="w" fact="0.5789"/>
              <dgm:constr type="t" for="ch" forName="accent_2" refType="h" fact="0.0127"/>
              <dgm:constr type="w" for="ch" forName="accent_2" refType="w" fact="0.0526"/>
              <dgm:constr type="h" for="ch" forName="accent_2" refType="h" fact="0.1266"/>
            </dgm:constrLst>
          </dgm:if>
          <dgm:else name="Name13">
            <dgm:constrLst>
              <dgm:constr type="primFontSz" for="des" ptType="node" op="equ" val="65"/>
              <dgm:constr type="l" for="ch" forName="accent_1" refType="w" fact="0.3289"/>
              <dgm:constr type="t" for="ch" forName="accent_1" refType="h" fact="0.8355"/>
              <dgm:constr type="w" for="ch" forName="accent_1" refType="w" fact="0.0395"/>
              <dgm:constr type="h" for="ch" forName="accent_1" refType="h" fact="0.0949"/>
              <dgm:constr type="l" for="ch" forName="image_accent_2" refType="w" fact="0.3811"/>
              <dgm:constr type="t" for="ch" forName="image_accent_2" refType="h" fact="0.5329"/>
              <dgm:constr type="w" for="ch" forName="image_accent_2" refType="w" fact="0.1253"/>
              <dgm:constr type="h" for="ch" forName="image_accent_2" refType="h" fact="0.3013"/>
              <dgm:constr type="l" for="ch" forName="image_2" refType="w" fact="0.3885"/>
              <dgm:constr type="t" for="ch" forName="image_2" refType="h" fact="0.5507"/>
              <dgm:constr type="w" for="ch" forName="image_2" refType="w" fact="0.1105"/>
              <dgm:constr type="h" for="ch" forName="image_2" refType="h" fact="0.2658"/>
              <dgm:constr type="l" for="ch" forName="image_accent_3" refType="w" fact="0.3947"/>
              <dgm:constr type="t" for="ch" forName="image_accent_3" refType="h" fact="0.1076"/>
              <dgm:constr type="w" for="ch" forName="image_accent_3" refType="w" fact="0.1606"/>
              <dgm:constr type="h" for="ch" forName="image_accent_3" refType="h" fact="0.3864"/>
              <dgm:constr type="l" for="ch" forName="image_3" refType="w" fact="0.4032"/>
              <dgm:constr type="t" for="ch" forName="image_3" refType="h" fact="0.128"/>
              <dgm:constr type="w" for="ch" forName="image_3" refType="w" fact="0.1437"/>
              <dgm:constr type="h" for="ch" forName="image_3" refType="h" fact="0.3456"/>
              <dgm:constr type="l" for="ch" forName="image_accent_1" refType="w" fact="0.5237"/>
              <dgm:constr type="t" for="ch" forName="image_accent_1" refType="h" fact="0.4241"/>
              <dgm:constr type="w" for="ch" forName="image_accent_1" refType="w" fact="0.2394"/>
              <dgm:constr type="h" for="ch" forName="image_accent_1" refType="h" fact="0.5759"/>
              <dgm:constr type="l" for="ch" forName="image_1" refType="w" fact="0.5329"/>
              <dgm:constr type="t" for="ch" forName="image_1" refType="h" fact="0.4462"/>
              <dgm:constr type="w" for="ch" forName="image_1" refType="w" fact="0.2211"/>
              <dgm:constr type="h" for="ch" forName="image_1" refType="h" fact="0.5317"/>
              <dgm:constr type="l" for="ch" forName="parent_text_1" refType="w" fact="0.6447"/>
              <dgm:constr type="t" for="ch" forName="parent_text_1" refType="h" fact="0.128"/>
              <dgm:constr type="w" for="ch" forName="parent_text_1" refType="w" fact="0.3553"/>
              <dgm:constr type="h" for="ch" forName="parent_text_1" refType="h" fact="0.2775"/>
              <dgm:constr type="l" for="ch" forName="accent_2" refType="w" fact="0.5395"/>
              <dgm:constr type="t" for="ch" forName="accent_2" refType="h" fact="0"/>
              <dgm:constr type="w" for="ch" forName="accent_2" refType="w" fact="0.0711"/>
              <dgm:constr type="h" for="ch" forName="accent_2" refType="h" fact="0.1709"/>
              <dgm:constr type="l" for="ch" forName="parent_text_3" refType="w" fact="0.0132"/>
              <dgm:constr type="t" for="ch" forName="parent_text_3" refType="h" fact="0.128"/>
              <dgm:constr type="w" for="ch" forName="parent_text_3" refType="w" fact="0.3553"/>
              <dgm:constr type="h" for="ch" forName="parent_text_3" refType="h" fact="0.3456"/>
              <dgm:constr type="l" for="ch" forName="parent_text_2" refType="w" fact="0"/>
              <dgm:constr type="t" for="ch" forName="parent_text_2" refType="h" fact="0.5507"/>
              <dgm:constr type="w" for="ch" forName="parent_text_2" refType="w" fact="0.3553"/>
              <dgm:constr type="h" for="ch" forName="parent_text_2" refType="h" fact="0.2658"/>
              <dgm:constr type="l" for="ch" forName="accent_3" refType="w" fact="0.3684"/>
              <dgm:constr type="t" for="ch" forName="accent_3" refType="h" fact="0.0127"/>
              <dgm:constr type="w" for="ch" forName="accent_3" refType="w" fact="0.0526"/>
              <dgm:constr type="h" for="ch" forName="accent_3" refType="h" fact="0.1266"/>
            </dgm:constrLst>
          </dgm:else>
        </dgm:choose>
      </dgm:if>
      <dgm:if name="Name14" axis="ch" ptType="node" func="cnt" op="equ" val="4">
        <dgm:alg type="composite">
          <dgm:param type="ar" val="1.6704"/>
        </dgm:alg>
        <dgm:choose name="Name15">
          <dgm:if name="Name16" func="var" arg="dir" op="equ" val="norm">
            <dgm:constrLst>
              <dgm:constr type="primFontSz" for="des" ptType="node" op="equ" val="65"/>
              <dgm:constr type="l" for="ch" forName="image_accent_4" refType="w" fact="0.4626"/>
              <dgm:constr type="t" for="ch" forName="image_accent_4" refType="h" fact="0.1415"/>
              <dgm:constr type="w" for="ch" forName="image_accent_4" refType="w" fact="0.1126"/>
              <dgm:constr type="h" for="ch" forName="image_accent_4" refType="h" fact="0.1881"/>
              <dgm:constr type="l" for="ch" forName="image_4" refType="w" fact="0.4692"/>
              <dgm:constr type="t" for="ch" forName="image_4" refType="h" fact="0.1526"/>
              <dgm:constr type="w" for="ch" forName="image_4" refType="w" fact="0.0994"/>
              <dgm:constr type="h" for="ch" forName="image_4" refType="h" fact="0.166"/>
              <dgm:constr type="l" for="ch" forName="image_accent_2" refType="w" fact="0.4936"/>
              <dgm:constr type="t" for="ch" forName="image_accent_2" refType="h" fact="0.6756"/>
              <dgm:constr type="w" for="ch" forName="image_accent_2" refType="w" fact="0.1253"/>
              <dgm:constr type="h" for="ch" forName="image_accent_2" refType="h" fact="0.2092"/>
              <dgm:constr type="l" for="ch" forName="image_2" refType="w" fact="0.501"/>
              <dgm:constr type="t" for="ch" forName="image_2" refType="h" fact="0.6879"/>
              <dgm:constr type="w" for="ch" forName="image_2" refType="w" fact="0.1105"/>
              <dgm:constr type="h" for="ch" forName="image_2" refType="h" fact="0.1846"/>
              <dgm:constr type="l" for="ch" forName="image_accent_3" refType="w" fact="0.4446"/>
              <dgm:constr type="t" for="ch" forName="image_accent_3" refType="h" fact="0.3802"/>
              <dgm:constr type="w" for="ch" forName="image_accent_3" refType="w" fact="0.1606"/>
              <dgm:constr type="h" for="ch" forName="image_accent_3" refType="h" fact="0.2683"/>
              <dgm:constr type="l" for="ch" forName="image_3" refType="w" fact="0.4531"/>
              <dgm:constr type="t" for="ch" forName="image_3" refType="h" fact="0.3944"/>
              <dgm:constr type="w" for="ch" forName="image_3" refType="w" fact="0.1437"/>
              <dgm:constr type="h" for="ch" forName="image_3" refType="h" fact="0.24"/>
              <dgm:constr type="l" for="ch" forName="image_accent_1" refType="w" fact="0.2368"/>
              <dgm:constr type="t" for="ch" forName="image_accent_1" refType="h" fact="0.6"/>
              <dgm:constr type="w" for="ch" forName="image_accent_1" refType="w" fact="0.2394"/>
              <dgm:constr type="h" for="ch" forName="image_accent_1" refType="h" fact="0.4"/>
              <dgm:constr type="l" for="ch" forName="image_1" refType="w" fact="0.246"/>
              <dgm:constr type="t" for="ch" forName="image_1" refType="h" fact="0.6154"/>
              <dgm:constr type="w" for="ch" forName="image_1" refType="w" fact="0.2211"/>
              <dgm:constr type="h" for="ch" forName="image_1" refType="h" fact="0.3692"/>
              <dgm:constr type="l" for="ch" forName="parent_text_1" refType="w" fact="0"/>
              <dgm:constr type="t" for="ch" forName="parent_text_1" refType="h" fact="0.3944"/>
              <dgm:constr type="w" for="ch" forName="parent_text_1" refType="w" fact="0.3553"/>
              <dgm:constr type="h" for="ch" forName="parent_text_1" refType="h" fact="0.1931"/>
              <dgm:constr type="l" for="ch" forName="accent_1" refType="w" fact="0.3895"/>
              <dgm:constr type="t" for="ch" forName="accent_1" refType="h" fact="0.3055"/>
              <dgm:constr type="w" for="ch" forName="accent_1" refType="w" fact="0.0711"/>
              <dgm:constr type="h" for="ch" forName="accent_1" refType="h" fact="0.1187"/>
              <dgm:constr type="l" for="ch" forName="parent_text_3" refType="w" fact="0.6316"/>
              <dgm:constr type="t" for="ch" forName="parent_text_3" refType="h" fact="0.3944"/>
              <dgm:constr type="w" for="ch" forName="parent_text_3" refType="w" fact="0.3553"/>
              <dgm:constr type="h" for="ch" forName="parent_text_3" refType="h" fact="0.24"/>
              <dgm:constr type="l" for="ch" forName="parent_text_2" refType="w" fact="0.6447"/>
              <dgm:constr type="t" for="ch" forName="parent_text_2" refType="h" fact="0.6879"/>
              <dgm:constr type="w" for="ch" forName="parent_text_2" refType="w" fact="0.3553"/>
              <dgm:constr type="h" for="ch" forName="parent_text_2" refType="h" fact="0.1846"/>
              <dgm:constr type="l" for="ch" forName="accent_2" refType="w" fact="0.5347"/>
              <dgm:constr type="t" for="ch" forName="accent_2" refType="h" fact="0.044"/>
              <dgm:constr type="w" for="ch" forName="accent_2" refType="w" fact="0.0526"/>
              <dgm:constr type="h" for="ch" forName="accent_2" refType="h" fact="0.0879"/>
              <dgm:constr type="l" for="ch" forName="accent_3" refType="w" fact="0.6005"/>
              <dgm:constr type="t" for="ch" forName="accent_3" refType="h" fact="0"/>
              <dgm:constr type="w" for="ch" forName="accent_3" refType="w" fact="0.0263"/>
              <dgm:constr type="h" for="ch" forName="accent_3" refType="h" fact="0.044"/>
              <dgm:constr type="l" for="ch" forName="parent_text_4" refType="w" fact="0.6005"/>
              <dgm:constr type="t" for="ch" forName="parent_text_4" refType="h" fact="0.1526"/>
              <dgm:constr type="w" for="ch" forName="parent_text_4" refType="w" fact="0.3553"/>
              <dgm:constr type="h" for="ch" forName="parent_text_4" refType="h" fact="0.166"/>
              <dgm:constr type="l" for="ch" forName="accent_4" refType="w" fact="0.6268"/>
              <dgm:constr type="t" for="ch" forName="accent_4" refType="h" fact="0.8791"/>
              <dgm:constr type="w" for="ch" forName="accent_4" refType="w" fact="0.0395"/>
              <dgm:constr type="h" for="ch" forName="accent_4" refType="h" fact="0.0659"/>
            </dgm:constrLst>
          </dgm:if>
          <dgm:else name="Name17">
            <dgm:constrLst>
              <dgm:constr type="primFontSz" for="des" ptType="node" op="equ" val="65"/>
              <dgm:constr type="l" for="ch" forName="image_accent_4" refType="w" fact="0.4248"/>
              <dgm:constr type="t" for="ch" forName="image_accent_4" refType="h" fact="0.1415"/>
              <dgm:constr type="w" for="ch" forName="image_accent_4" refType="w" fact="0.1126"/>
              <dgm:constr type="h" for="ch" forName="image_accent_4" refType="h" fact="0.1881"/>
              <dgm:constr type="l" for="ch" forName="image_4" refType="w" fact="0.4314"/>
              <dgm:constr type="t" for="ch" forName="image_4" refType="h" fact="0.1526"/>
              <dgm:constr type="w" for="ch" forName="image_4" refType="w" fact="0.0994"/>
              <dgm:constr type="h" for="ch" forName="image_4" refType="h" fact="0.166"/>
              <dgm:constr type="l" for="ch" forName="image_accent_2" refType="w" fact="0.3811"/>
              <dgm:constr type="t" for="ch" forName="image_accent_2" refType="h" fact="0.6756"/>
              <dgm:constr type="w" for="ch" forName="image_accent_2" refType="w" fact="0.1253"/>
              <dgm:constr type="h" for="ch" forName="image_accent_2" refType="h" fact="0.2092"/>
              <dgm:constr type="l" for="ch" forName="image_2" refType="w" fact="0.3885"/>
              <dgm:constr type="t" for="ch" forName="image_2" refType="h" fact="0.6879"/>
              <dgm:constr type="w" for="ch" forName="image_2" refType="w" fact="0.1105"/>
              <dgm:constr type="h" for="ch" forName="image_2" refType="h" fact="0.1846"/>
              <dgm:constr type="l" for="ch" forName="image_accent_3" refType="w" fact="0.3947"/>
              <dgm:constr type="t" for="ch" forName="image_accent_3" refType="h" fact="0.3802"/>
              <dgm:constr type="w" for="ch" forName="image_accent_3" refType="w" fact="0.1606"/>
              <dgm:constr type="h" for="ch" forName="image_accent_3" refType="h" fact="0.2683"/>
              <dgm:constr type="l" for="ch" forName="image_3" refType="w" fact="0.4032"/>
              <dgm:constr type="t" for="ch" forName="image_3" refType="h" fact="0.3944"/>
              <dgm:constr type="w" for="ch" forName="image_3" refType="w" fact="0.1437"/>
              <dgm:constr type="h" for="ch" forName="image_3" refType="h" fact="0.24"/>
              <dgm:constr type="l" for="ch" forName="image_accent_1" refType="w" fact="0.5237"/>
              <dgm:constr type="t" for="ch" forName="image_accent_1" refType="h" fact="0.6"/>
              <dgm:constr type="w" for="ch" forName="image_accent_1" refType="w" fact="0.2394"/>
              <dgm:constr type="h" for="ch" forName="image_accent_1" refType="h" fact="0.4"/>
              <dgm:constr type="l" for="ch" forName="image_1" refType="w" fact="0.5329"/>
              <dgm:constr type="t" for="ch" forName="image_1" refType="h" fact="0.6154"/>
              <dgm:constr type="w" for="ch" forName="image_1" refType="w" fact="0.2211"/>
              <dgm:constr type="h" for="ch" forName="image_1" refType="h" fact="0.3692"/>
              <dgm:constr type="l" for="ch" forName="parent_text_1" refType="w" fact="0.6447"/>
              <dgm:constr type="t" for="ch" forName="parent_text_1" refType="h" fact="0.3944"/>
              <dgm:constr type="w" for="ch" forName="parent_text_1" refType="w" fact="0.3553"/>
              <dgm:constr type="h" for="ch" forName="parent_text_1" refType="h" fact="0.1931"/>
              <dgm:constr type="l" for="ch" forName="accent_1" refType="w" fact="0.5395"/>
              <dgm:constr type="t" for="ch" forName="accent_1" refType="h" fact="0.3055"/>
              <dgm:constr type="w" for="ch" forName="accent_1" refType="w" fact="0.0711"/>
              <dgm:constr type="h" for="ch" forName="accent_1" refType="h" fact="0.1187"/>
              <dgm:constr type="l" for="ch" forName="parent_text_3" refType="w" fact="0.0132"/>
              <dgm:constr type="t" for="ch" forName="parent_text_3" refType="h" fact="0.3944"/>
              <dgm:constr type="w" for="ch" forName="parent_text_3" refType="w" fact="0.3553"/>
              <dgm:constr type="h" for="ch" forName="parent_text_3" refType="h" fact="0.24"/>
              <dgm:constr type="l" for="ch" forName="parent_text_2" refType="w" fact="0"/>
              <dgm:constr type="t" for="ch" forName="parent_text_2" refType="h" fact="0.6879"/>
              <dgm:constr type="w" for="ch" forName="parent_text_2" refType="w" fact="0.3553"/>
              <dgm:constr type="h" for="ch" forName="parent_text_2" refType="h" fact="0.1846"/>
              <dgm:constr type="l" for="ch" forName="accent_2" refType="w" fact="0.4126"/>
              <dgm:constr type="t" for="ch" forName="accent_2" refType="h" fact="0.044"/>
              <dgm:constr type="w" for="ch" forName="accent_2" refType="w" fact="0.0526"/>
              <dgm:constr type="h" for="ch" forName="accent_2" refType="h" fact="0.0879"/>
              <dgm:constr type="l" for="ch" forName="accent_3" refType="w" fact="0.3732"/>
              <dgm:constr type="t" for="ch" forName="accent_3" refType="h" fact="0"/>
              <dgm:constr type="w" for="ch" forName="accent_3" refType="w" fact="0.0263"/>
              <dgm:constr type="h" for="ch" forName="accent_3" refType="h" fact="0.044"/>
              <dgm:constr type="l" for="ch" forName="parent_text_4" refType="w" fact="0.0442"/>
              <dgm:constr type="t" for="ch" forName="parent_text_4" refType="h" fact="0.1526"/>
              <dgm:constr type="w" for="ch" forName="parent_text_4" refType="w" fact="0.3553"/>
              <dgm:constr type="h" for="ch" forName="parent_text_4" refType="h" fact="0.166"/>
              <dgm:constr type="l" for="ch" forName="accent_4" refType="w" fact="0.3337"/>
              <dgm:constr type="t" for="ch" forName="accent_4" refType="h" fact="0.8791"/>
              <dgm:constr type="w" for="ch" forName="accent_4" refType="w" fact="0.0395"/>
              <dgm:constr type="h" for="ch" forName="accent_4" refType="h" fact="0.0659"/>
            </dgm:constrLst>
          </dgm:else>
        </dgm:choose>
      </dgm:if>
      <dgm:if name="Name18" axis="ch" ptType="node" func="cnt" op="equ" val="5">
        <dgm:alg type="composite">
          <dgm:param type="ar" val="1.5076"/>
        </dgm:alg>
        <dgm:choose name="Name19">
          <dgm:if name="Name20" func="var" arg="dir" op="equ" val="norm">
            <dgm:constrLst>
              <dgm:constr type="primFontSz" for="des" ptType="node" op="equ" val="65"/>
              <dgm:constr type="l" for="ch" forName="image_accent_5" refType="w" fact="0.5301"/>
              <dgm:constr type="t" for="ch" forName="image_accent_5" refType="h" fact="0.0862"/>
              <dgm:constr type="w" for="ch" forName="image_accent_5" refType="w" fact="0.1022"/>
              <dgm:constr type="h" for="ch" forName="image_accent_5" refType="h" fact="0.1541"/>
              <dgm:constr type="l" for="ch" forName="image_5" refType="w" fact="0.5361"/>
              <dgm:constr type="t" for="ch" forName="image_5" refType="h" fact="0.0953"/>
              <dgm:constr type="w" for="ch" forName="image_5" refType="w" fact="0.0902"/>
              <dgm:constr type="h" for="ch" forName="image_5" refType="h" fact="0.1359"/>
              <dgm:constr type="l" for="ch" forName="image_accent_4" refType="w" fact="0.4528"/>
              <dgm:constr type="t" for="ch" forName="image_accent_4" refType="h" fact="0.2416"/>
              <dgm:constr type="w" for="ch" forName="image_accent_4" refType="w" fact="0.1103"/>
              <dgm:constr type="h" for="ch" forName="image_accent_4" refType="h" fact="0.1662"/>
              <dgm:constr type="l" for="ch" forName="image_4" refType="w" fact="0.4593"/>
              <dgm:constr type="t" for="ch" forName="image_4" refType="h" fact="0.2513"/>
              <dgm:constr type="w" for="ch" forName="image_4" refType="w" fact="0.0973"/>
              <dgm:constr type="h" for="ch" forName="image_4" refType="h" fact="0.1467"/>
              <dgm:constr type="l" for="ch" forName="image_accent_2" refType="w" fact="0.4832"/>
              <dgm:constr type="t" for="ch" forName="image_accent_2" refType="h" fact="0.7134"/>
              <dgm:constr type="w" for="ch" forName="image_accent_2" refType="w" fact="0.1226"/>
              <dgm:constr type="h" for="ch" forName="image_accent_2" refType="h" fact="0.1849"/>
              <dgm:constr type="l" for="ch" forName="image_2" refType="w" fact="0.4904"/>
              <dgm:constr type="t" for="ch" forName="image_2" refType="h" fact="0.7243"/>
              <dgm:constr type="w" for="ch" forName="image_2" refType="w" fact="0.1082"/>
              <dgm:constr type="h" for="ch" forName="image_2" refType="h" fact="0.1631"/>
              <dgm:constr type="l" for="ch" forName="image_accent_3" refType="w" fact="0.4352"/>
              <dgm:constr type="t" for="ch" forName="image_accent_3" refType="h" fact="0.4525"/>
              <dgm:constr type="w" for="ch" forName="image_accent_3" refType="w" fact="0.1573"/>
              <dgm:constr type="h" for="ch" forName="image_accent_3" refType="h" fact="0.2371"/>
              <dgm:constr type="l" for="ch" forName="image_3" refType="w" fact="0.4435"/>
              <dgm:constr type="t" for="ch" forName="image_3" refType="h" fact="0.465"/>
              <dgm:constr type="w" for="ch" forName="image_3" refType="w" fact="0.1407"/>
              <dgm:constr type="h" for="ch" forName="image_3" refType="h" fact="0.212"/>
              <dgm:constr type="l" for="ch" forName="image_accent_1" refType="w" fact="0.2318"/>
              <dgm:constr type="t" for="ch" forName="image_accent_1" refType="h" fact="0.6466"/>
              <dgm:constr type="w" for="ch" forName="image_accent_1" refType="w" fact="0.2344"/>
              <dgm:constr type="h" for="ch" forName="image_accent_1" refType="h" fact="0.3534"/>
              <dgm:constr type="l" for="ch" forName="image_1" refType="w" fact="0.2408"/>
              <dgm:constr type="t" for="ch" forName="image_1" refType="h" fact="0.6602"/>
              <dgm:constr type="w" for="ch" forName="image_1" refType="w" fact="0.2164"/>
              <dgm:constr type="h" for="ch" forName="image_1" refType="h" fact="0.3262"/>
              <dgm:constr type="l" for="ch" forName="parent_text_1" refType="w" fact="0"/>
              <dgm:constr type="t" for="ch" forName="parent_text_1" refType="h" fact="0.465"/>
              <dgm:constr type="w" for="ch" forName="parent_text_1" refType="w" fact="0.3478"/>
              <dgm:constr type="h" for="ch" forName="parent_text_1" refType="h" fact="0.165"/>
              <dgm:constr type="l" for="ch" forName="accent_1" refType="w" fact="0.3813"/>
              <dgm:constr type="t" for="ch" forName="accent_1" refType="h" fact="0.3864"/>
              <dgm:constr type="w" for="ch" forName="accent_1" refType="w" fact="0.0696"/>
              <dgm:constr type="h" for="ch" forName="accent_1" refType="h" fact="0.1049"/>
              <dgm:constr type="l" for="ch" forName="parent_text_3" refType="w" fact="0.6182"/>
              <dgm:constr type="t" for="ch" forName="parent_text_3" refType="h" fact="0.465"/>
              <dgm:constr type="w" for="ch" forName="parent_text_3" refType="w" fact="0.3478"/>
              <dgm:constr type="h" for="ch" forName="parent_text_3" refType="h" fact="0.212"/>
              <dgm:constr type="l" for="ch" forName="parent_text_2" refType="w" fact="0.6311"/>
              <dgm:constr type="t" for="ch" forName="parent_text_2" refType="h" fact="0.7243"/>
              <dgm:constr type="w" for="ch" forName="parent_text_2" refType="w" fact="0.3478"/>
              <dgm:constr type="h" for="ch" forName="parent_text_2" refType="h" fact="0.1631"/>
              <dgm:constr type="l" for="ch" forName="parent_text_4" refType="w" fact="0.5878"/>
              <dgm:constr type="t" for="ch" forName="parent_text_4" refType="h" fact="0.2513"/>
              <dgm:constr type="w" for="ch" forName="parent_text_4" refType="w" fact="0.3478"/>
              <dgm:constr type="h" for="ch" forName="parent_text_4" refType="h" fact="0.1467"/>
              <dgm:constr type="l" for="ch" forName="accent_2" refType="w" fact="0.6265"/>
              <dgm:constr type="t" for="ch" forName="accent_2" refType="h" fact="0.0194"/>
              <dgm:constr type="w" for="ch" forName="accent_2" refType="w" fact="0.0515"/>
              <dgm:constr type="h" for="ch" forName="accent_2" refType="h" fact="0.0777"/>
              <dgm:constr type="l" for="ch" forName="accent_3" refType="w" fact="0.7038"/>
              <dgm:constr type="t" for="ch" forName="accent_3" refType="h" fact="0"/>
              <dgm:constr type="w" for="ch" forName="accent_3" refType="w" fact="0.0258"/>
              <dgm:constr type="h" for="ch" forName="accent_3" refType="h" fact="0.0388"/>
              <dgm:constr type="l" for="ch" forName="parent_text_5" refType="w" fact="0.6522"/>
              <dgm:constr type="t" for="ch" forName="parent_text_5" refType="h" fact="0.0953"/>
              <dgm:constr type="w" for="ch" forName="parent_text_5" refType="w" fact="0.3478"/>
              <dgm:constr type="h" for="ch" forName="parent_text_5" refType="h" fact="0.1359"/>
              <dgm:constr type="l" for="ch" forName="accent_4" refType="w" fact="0.6136"/>
              <dgm:constr type="t" for="ch" forName="accent_4" refType="h" fact="0.8932"/>
              <dgm:constr type="w" for="ch" forName="accent_4" refType="w" fact="0.0386"/>
              <dgm:constr type="h" for="ch" forName="accent_4" refType="h" fact="0.0583"/>
            </dgm:constrLst>
          </dgm:if>
          <dgm:else name="Name21">
            <dgm:constrLst>
              <dgm:constr type="primFontSz" for="des" ptType="node" op="equ" val="65"/>
              <dgm:constr type="l" for="ch" forName="image_accent_5" refType="w" fact="0.3677"/>
              <dgm:constr type="t" for="ch" forName="image_accent_5" refType="h" fact="0.0862"/>
              <dgm:constr type="w" for="ch" forName="image_accent_5" refType="w" fact="0.1022"/>
              <dgm:constr type="h" for="ch" forName="image_accent_5" refType="h" fact="0.1541"/>
              <dgm:constr type="l" for="ch" forName="image_5" refType="w" fact="0.3738"/>
              <dgm:constr type="t" for="ch" forName="image_5" refType="h" fact="0.0953"/>
              <dgm:constr type="w" for="ch" forName="image_5" refType="w" fact="0.0902"/>
              <dgm:constr type="h" for="ch" forName="image_5" refType="h" fact="0.1359"/>
              <dgm:constr type="l" for="ch" forName="image_accent_4" refType="w" fact="0.437"/>
              <dgm:constr type="t" for="ch" forName="image_accent_4" refType="h" fact="0.2416"/>
              <dgm:constr type="w" for="ch" forName="image_accent_4" refType="w" fact="0.1103"/>
              <dgm:constr type="h" for="ch" forName="image_accent_4" refType="h" fact="0.1662"/>
              <dgm:constr type="l" for="ch" forName="image_4" refType="w" fact="0.4434"/>
              <dgm:constr type="t" for="ch" forName="image_4" refType="h" fact="0.2513"/>
              <dgm:constr type="w" for="ch" forName="image_4" refType="w" fact="0.0973"/>
              <dgm:constr type="h" for="ch" forName="image_4" refType="h" fact="0.1467"/>
              <dgm:constr type="l" for="ch" forName="image_accent_2" refType="w" fact="0.3942"/>
              <dgm:constr type="t" for="ch" forName="image_accent_2" refType="h" fact="0.7134"/>
              <dgm:constr type="w" for="ch" forName="image_accent_2" refType="w" fact="0.1226"/>
              <dgm:constr type="h" for="ch" forName="image_accent_2" refType="h" fact="0.1849"/>
              <dgm:constr type="l" for="ch" forName="image_2" refType="w" fact="0.4014"/>
              <dgm:constr type="t" for="ch" forName="image_2" refType="h" fact="0.7243"/>
              <dgm:constr type="w" for="ch" forName="image_2" refType="w" fact="0.1082"/>
              <dgm:constr type="h" for="ch" forName="image_2" refType="h" fact="0.1631"/>
              <dgm:constr type="l" for="ch" forName="image_accent_3" refType="w" fact="0.4075"/>
              <dgm:constr type="t" for="ch" forName="image_accent_3" refType="h" fact="0.4525"/>
              <dgm:constr type="w" for="ch" forName="image_accent_3" refType="w" fact="0.1573"/>
              <dgm:constr type="h" for="ch" forName="image_accent_3" refType="h" fact="0.2371"/>
              <dgm:constr type="l" for="ch" forName="image_3" refType="w" fact="0.4158"/>
              <dgm:constr type="t" for="ch" forName="image_3" refType="h" fact="0.465"/>
              <dgm:constr type="w" for="ch" forName="image_3" refType="w" fact="0.1407"/>
              <dgm:constr type="h" for="ch" forName="image_3" refType="h" fact="0.212"/>
              <dgm:constr type="l" for="ch" forName="image_accent_1" refType="w" fact="0.5338"/>
              <dgm:constr type="t" for="ch" forName="image_accent_1" refType="h" fact="0.6466"/>
              <dgm:constr type="w" for="ch" forName="image_accent_1" refType="w" fact="0.2344"/>
              <dgm:constr type="h" for="ch" forName="image_accent_1" refType="h" fact="0.3534"/>
              <dgm:constr type="l" for="ch" forName="image_1" refType="w" fact="0.5428"/>
              <dgm:constr type="t" for="ch" forName="image_1" refType="h" fact="0.6602"/>
              <dgm:constr type="w" for="ch" forName="image_1" refType="w" fact="0.2164"/>
              <dgm:constr type="h" for="ch" forName="image_1" refType="h" fact="0.3262"/>
              <dgm:constr type="l" for="ch" forName="parent_text_1" refType="w" fact="0.6522"/>
              <dgm:constr type="t" for="ch" forName="parent_text_1" refType="h" fact="0.465"/>
              <dgm:constr type="w" for="ch" forName="parent_text_1" refType="w" fact="0.3478"/>
              <dgm:constr type="h" for="ch" forName="parent_text_1" refType="h" fact="0.165"/>
              <dgm:constr type="l" for="ch" forName="accent_1" refType="w" fact="0.5492"/>
              <dgm:constr type="t" for="ch" forName="accent_1" refType="h" fact="0.3864"/>
              <dgm:constr type="w" for="ch" forName="accent_1" refType="w" fact="0.0696"/>
              <dgm:constr type="h" for="ch" forName="accent_1" refType="h" fact="0.1049"/>
              <dgm:constr type="l" for="ch" forName="parent_text_3" refType="w" fact="0.034"/>
              <dgm:constr type="t" for="ch" forName="parent_text_3" refType="h" fact="0.465"/>
              <dgm:constr type="w" for="ch" forName="parent_text_3" refType="w" fact="0.3478"/>
              <dgm:constr type="h" for="ch" forName="parent_text_3" refType="h" fact="0.212"/>
              <dgm:constr type="l" for="ch" forName="parent_text_2" refType="w" fact="0.0211"/>
              <dgm:constr type="t" for="ch" forName="parent_text_2" refType="h" fact="0.7243"/>
              <dgm:constr type="w" for="ch" forName="parent_text_2" refType="w" fact="0.3478"/>
              <dgm:constr type="h" for="ch" forName="parent_text_2" refType="h" fact="0.1631"/>
              <dgm:constr type="l" for="ch" forName="parent_text_4" refType="w" fact="0.0644"/>
              <dgm:constr type="t" for="ch" forName="parent_text_4" refType="h" fact="0.2513"/>
              <dgm:constr type="w" for="ch" forName="parent_text_4" refType="w" fact="0.3478"/>
              <dgm:constr type="h" for="ch" forName="parent_text_4" refType="h" fact="0.1467"/>
              <dgm:constr type="l" for="ch" forName="accent_2" refType="w" fact="0.322"/>
              <dgm:constr type="t" for="ch" forName="accent_2" refType="h" fact="0.0194"/>
              <dgm:constr type="w" for="ch" forName="accent_2" refType="w" fact="0.0515"/>
              <dgm:constr type="h" for="ch" forName="accent_2" refType="h" fact="0.0777"/>
              <dgm:constr type="l" for="ch" forName="accent_3" refType="w" fact="0.2705"/>
              <dgm:constr type="t" for="ch" forName="accent_3" refType="h" fact="0"/>
              <dgm:constr type="w" for="ch" forName="accent_3" refType="w" fact="0.0258"/>
              <dgm:constr type="h" for="ch" forName="accent_3" refType="h" fact="0.0388"/>
              <dgm:constr type="l" for="ch" forName="parent_text_5" refType="w" fact="0"/>
              <dgm:constr type="t" for="ch" forName="parent_text_5" refType="h" fact="0.0953"/>
              <dgm:constr type="w" for="ch" forName="parent_text_5" refType="w" fact="0.3478"/>
              <dgm:constr type="h" for="ch" forName="parent_text_5" refType="h" fact="0.1359"/>
              <dgm:constr type="l" for="ch" forName="accent_4" refType="w" fact="0.3478"/>
              <dgm:constr type="t" for="ch" forName="accent_4" refType="h" fact="0.8932"/>
              <dgm:constr type="w" for="ch" forName="accent_4" refType="w" fact="0.0386"/>
              <dgm:constr type="h" for="ch" forName="accent_4" refType="h" fact="0.0583"/>
            </dgm:constrLst>
          </dgm:else>
        </dgm:choose>
      </dgm:if>
      <dgm:if name="Name22" axis="ch" ptType="node" func="cnt" op="equ" val="6">
        <dgm:alg type="composite">
          <dgm:param type="ar" val="1.1351"/>
        </dgm:alg>
        <dgm:choose name="Name23">
          <dgm:if name="Name24" func="var" arg="dir" op="equ" val="norm">
            <dgm:constrLst>
              <dgm:constr type="primFontSz" for="des" ptType="node" op="equ" val="65"/>
              <dgm:constr type="l" for="ch" forName="image_accent_6" refType="w" fact="0.3864"/>
              <dgm:constr type="t" for="ch" forName="image_accent_6" refType="h" fact="0.7456"/>
              <dgm:constr type="w" for="ch" forName="image_accent_6" refType="w" fact="0.1757"/>
              <dgm:constr type="h" for="ch" forName="image_accent_6" refType="h" fact="0.1995"/>
              <dgm:constr type="l" for="ch" forName="image_6" refType="w" fact="0.3957"/>
              <dgm:constr type="t" for="ch" forName="image_6" refType="h" fact="0.7561"/>
              <dgm:constr type="w" for="ch" forName="image_6" refType="w" fact="0.1572"/>
              <dgm:constr type="h" for="ch" forName="image_6" refType="h" fact="0.1784"/>
              <dgm:constr type="l" for="ch" forName="image_accent_5" refType="w" fact="0.5301"/>
              <dgm:constr type="t" for="ch" forName="image_accent_5" refType="h" fact="0.0649"/>
              <dgm:constr type="w" for="ch" forName="image_accent_5" refType="w" fact="0.1022"/>
              <dgm:constr type="h" for="ch" forName="image_accent_5" refType="h" fact="0.116"/>
              <dgm:constr type="l" for="ch" forName="image_5" refType="w" fact="0.5361"/>
              <dgm:constr type="t" for="ch" forName="image_5" refType="h" fact="0.0717"/>
              <dgm:constr type="w" for="ch" forName="image_5" refType="w" fact="0.0902"/>
              <dgm:constr type="h" for="ch" forName="image_5" refType="h" fact="0.1023"/>
              <dgm:constr type="l" for="ch" forName="image_accent_4" refType="w" fact="0.4528"/>
              <dgm:constr type="t" for="ch" forName="image_accent_4" refType="h" fact="0.1819"/>
              <dgm:constr type="w" for="ch" forName="image_accent_4" refType="w" fact="0.1103"/>
              <dgm:constr type="h" for="ch" forName="image_accent_4" refType="h" fact="0.1251"/>
              <dgm:constr type="l" for="ch" forName="image_4" refType="w" fact="0.4593"/>
              <dgm:constr type="t" for="ch" forName="image_4" refType="h" fact="0.1892"/>
              <dgm:constr type="w" for="ch" forName="image_4" refType="w" fact="0.0973"/>
              <dgm:constr type="h" for="ch" forName="image_4" refType="h" fact="0.1104"/>
              <dgm:constr type="l" for="ch" forName="image_accent_2" refType="w" fact="0.4832"/>
              <dgm:constr type="t" for="ch" forName="image_accent_2" refType="h" fact="0.5371"/>
              <dgm:constr type="w" for="ch" forName="image_accent_2" refType="w" fact="0.1226"/>
              <dgm:constr type="h" for="ch" forName="image_accent_2" refType="h" fact="0.1392"/>
              <dgm:constr type="l" for="ch" forName="image_2" refType="w" fact="0.4904"/>
              <dgm:constr type="t" for="ch" forName="image_2" refType="h" fact="0.5453"/>
              <dgm:constr type="w" for="ch" forName="image_2" refType="w" fact="0.1082"/>
              <dgm:constr type="h" for="ch" forName="image_2" refType="h" fact="0.1228"/>
              <dgm:constr type="l" for="ch" forName="image_accent_3" refType="w" fact="0.4352"/>
              <dgm:constr type="t" for="ch" forName="image_accent_3" refType="h" fact="0.3407"/>
              <dgm:constr type="w" for="ch" forName="image_accent_3" refType="w" fact="0.1573"/>
              <dgm:constr type="h" for="ch" forName="image_accent_3" refType="h" fact="0.1785"/>
              <dgm:constr type="l" for="ch" forName="image_3" refType="w" fact="0.4435"/>
              <dgm:constr type="t" for="ch" forName="image_3" refType="h" fact="0.3501"/>
              <dgm:constr type="w" for="ch" forName="image_3" refType="w" fact="0.1407"/>
              <dgm:constr type="h" for="ch" forName="image_3" refType="h" fact="0.1596"/>
              <dgm:constr type="l" for="ch" forName="image_accent_1" refType="w" fact="0.2318"/>
              <dgm:constr type="t" for="ch" forName="image_accent_1" refType="h" fact="0.4869"/>
              <dgm:constr type="w" for="ch" forName="image_accent_1" refType="w" fact="0.2344"/>
              <dgm:constr type="h" for="ch" forName="image_accent_1" refType="h" fact="0.2661"/>
              <dgm:constr type="l" for="ch" forName="image_1" refType="w" fact="0.2401"/>
              <dgm:constr type="t" for="ch" forName="image_1" refType="h" fact="0.4971"/>
              <dgm:constr type="w" for="ch" forName="image_1" refType="w" fact="0.2164"/>
              <dgm:constr type="h" for="ch" forName="image_1" refType="h" fact="0.2456"/>
              <dgm:constr type="l" for="ch" forName="parent_text_1" refType="w" fact="0"/>
              <dgm:constr type="t" for="ch" forName="parent_text_1" refType="h" fact="0.3501"/>
              <dgm:constr type="w" for="ch" forName="parent_text_1" refType="w" fact="0.3478"/>
              <dgm:constr type="h" for="ch" forName="parent_text_1" refType="h" fact="0.125"/>
              <dgm:constr type="l" for="ch" forName="accent_1" refType="w" fact="0.3813"/>
              <dgm:constr type="t" for="ch" forName="accent_1" refType="h" fact="0.2909"/>
              <dgm:constr type="w" for="ch" forName="accent_1" refType="w" fact="0.0696"/>
              <dgm:constr type="h" for="ch" forName="accent_1" refType="h" fact="0.0789"/>
              <dgm:constr type="l" for="ch" forName="parent_text_2" refType="w" fact="0.6311"/>
              <dgm:constr type="t" for="ch" forName="parent_text_2" refType="h" fact="0.5453"/>
              <dgm:constr type="w" for="ch" forName="parent_text_2" refType="w" fact="0.3478"/>
              <dgm:constr type="h" for="ch" forName="parent_text_2" refType="h" fact="0.1228"/>
              <dgm:constr type="l" for="ch" forName="parent_text_4" refType="w" fact="0.5878"/>
              <dgm:constr type="t" for="ch" forName="parent_text_4" refType="h" fact="0.1892"/>
              <dgm:constr type="w" for="ch" forName="parent_text_4" refType="w" fact="0.3478"/>
              <dgm:constr type="h" for="ch" forName="parent_text_4" refType="h" fact="0.1104"/>
              <dgm:constr type="l" for="ch" forName="accent_2" refType="w" fact="0.6265"/>
              <dgm:constr type="t" for="ch" forName="accent_2" refType="h" fact="0.0146"/>
              <dgm:constr type="w" for="ch" forName="accent_2" refType="w" fact="0.0515"/>
              <dgm:constr type="h" for="ch" forName="accent_2" refType="h" fact="0.0585"/>
              <dgm:constr type="l" for="ch" forName="accent_3" refType="w" fact="0.7038"/>
              <dgm:constr type="t" for="ch" forName="accent_3" refType="h" fact="0"/>
              <dgm:constr type="w" for="ch" forName="accent_3" refType="w" fact="0.0258"/>
              <dgm:constr type="h" for="ch" forName="accent_3" refType="h" fact="0.0292"/>
              <dgm:constr type="l" for="ch" forName="parent_text_5" refType="w" fact="0.6522"/>
              <dgm:constr type="t" for="ch" forName="parent_text_5" refType="h" fact="0.0717"/>
              <dgm:constr type="w" for="ch" forName="parent_text_5" refType="w" fact="0.3478"/>
              <dgm:constr type="h" for="ch" forName="parent_text_5" refType="h" fact="0.1023"/>
              <dgm:constr type="l" for="ch" forName="parent_text_3" refType="w" fact="0.6182"/>
              <dgm:constr type="t" for="ch" forName="parent_text_3" refType="h" fact="0.3501"/>
              <dgm:constr type="w" for="ch" forName="parent_text_3" refType="w" fact="0.3478"/>
              <dgm:constr type="h" for="ch" forName="parent_text_3" refType="h" fact="0.1596"/>
              <dgm:constr type="l" for="ch" forName="accent_4" refType="w" fact="0.5538"/>
              <dgm:constr type="t" for="ch" forName="accent_4" refType="h" fact="0.9211"/>
              <dgm:constr type="w" for="ch" forName="accent_4" refType="w" fact="0.0696"/>
              <dgm:constr type="h" for="ch" forName="accent_4" refType="h" fact="0.0789"/>
              <dgm:constr type="l" for="ch" forName="parent_text_6" refType="w" fact="0.0195"/>
              <dgm:constr type="t" for="ch" forName="parent_text_6" refType="h" fact="0.7561"/>
              <dgm:constr type="w" for="ch" forName="parent_text_6" refType="w" fact="0.3478"/>
              <dgm:constr type="h" for="ch" forName="parent_text_6" refType="h" fact="0.1784"/>
              <dgm:constr type="l" for="ch" forName="accent_5" refType="w" fact="0.6182"/>
              <dgm:constr type="t" for="ch" forName="accent_5" refType="h" fact="0.6725"/>
              <dgm:constr type="w" for="ch" forName="accent_5" refType="w" fact="0.0386"/>
              <dgm:constr type="h" for="ch" forName="accent_5" refType="h" fact="0.0439"/>
            </dgm:constrLst>
          </dgm:if>
          <dgm:else name="Name25">
            <dgm:constrLst>
              <dgm:constr type="primFontSz" for="des" ptType="node" op="equ" val="65"/>
              <dgm:constr type="l" for="ch" forName="image_accent_6" refType="w" fact="0.4379"/>
              <dgm:constr type="t" for="ch" forName="image_accent_6" refType="h" fact="0.7456"/>
              <dgm:constr type="w" for="ch" forName="image_accent_6" refType="w" fact="0.1757"/>
              <dgm:constr type="h" for="ch" forName="image_accent_6" refType="h" fact="0.1995"/>
              <dgm:constr type="l" for="ch" forName="image_6" refType="w" fact="0.4471"/>
              <dgm:constr type="t" for="ch" forName="image_6" refType="h" fact="0.7561"/>
              <dgm:constr type="w" for="ch" forName="image_6" refType="w" fact="0.1572"/>
              <dgm:constr type="h" for="ch" forName="image_6" refType="h" fact="0.1784"/>
              <dgm:constr type="l" for="ch" forName="image_accent_5" refType="w" fact="0.3677"/>
              <dgm:constr type="t" for="ch" forName="image_accent_5" refType="h" fact="0.0649"/>
              <dgm:constr type="w" for="ch" forName="image_accent_5" refType="w" fact="0.1022"/>
              <dgm:constr type="h" for="ch" forName="image_accent_5" refType="h" fact="0.116"/>
              <dgm:constr type="l" for="ch" forName="image_5" refType="w" fact="0.3738"/>
              <dgm:constr type="t" for="ch" forName="image_5" refType="h" fact="0.0717"/>
              <dgm:constr type="w" for="ch" forName="image_5" refType="w" fact="0.0902"/>
              <dgm:constr type="h" for="ch" forName="image_5" refType="h" fact="0.1023"/>
              <dgm:constr type="l" for="ch" forName="image_accent_4" refType="w" fact="0.437"/>
              <dgm:constr type="t" for="ch" forName="image_accent_4" refType="h" fact="0.1819"/>
              <dgm:constr type="w" for="ch" forName="image_accent_4" refType="w" fact="0.1103"/>
              <dgm:constr type="h" for="ch" forName="image_accent_4" refType="h" fact="0.1251"/>
              <dgm:constr type="l" for="ch" forName="image_4" refType="w" fact="0.4434"/>
              <dgm:constr type="t" for="ch" forName="image_4" refType="h" fact="0.1892"/>
              <dgm:constr type="w" for="ch" forName="image_4" refType="w" fact="0.0973"/>
              <dgm:constr type="h" for="ch" forName="image_4" refType="h" fact="0.1104"/>
              <dgm:constr type="l" for="ch" forName="image_accent_2" refType="w" fact="0.3942"/>
              <dgm:constr type="t" for="ch" forName="image_accent_2" refType="h" fact="0.5371"/>
              <dgm:constr type="w" for="ch" forName="image_accent_2" refType="w" fact="0.1226"/>
              <dgm:constr type="h" for="ch" forName="image_accent_2" refType="h" fact="0.1392"/>
              <dgm:constr type="l" for="ch" forName="image_2" refType="w" fact="0.4014"/>
              <dgm:constr type="t" for="ch" forName="image_2" refType="h" fact="0.5453"/>
              <dgm:constr type="w" for="ch" forName="image_2" refType="w" fact="0.1082"/>
              <dgm:constr type="h" for="ch" forName="image_2" refType="h" fact="0.1228"/>
              <dgm:constr type="l" for="ch" forName="image_accent_3" refType="w" fact="0.4075"/>
              <dgm:constr type="t" for="ch" forName="image_accent_3" refType="h" fact="0.3407"/>
              <dgm:constr type="w" for="ch" forName="image_accent_3" refType="w" fact="0.1573"/>
              <dgm:constr type="h" for="ch" forName="image_accent_3" refType="h" fact="0.1785"/>
              <dgm:constr type="l" for="ch" forName="image_3" refType="w" fact="0.4158"/>
              <dgm:constr type="t" for="ch" forName="image_3" refType="h" fact="0.3501"/>
              <dgm:constr type="w" for="ch" forName="image_3" refType="w" fact="0.1407"/>
              <dgm:constr type="h" for="ch" forName="image_3" refType="h" fact="0.1596"/>
              <dgm:constr type="l" for="ch" forName="image_accent_1" refType="w" fact="0.5338"/>
              <dgm:constr type="t" for="ch" forName="image_accent_1" refType="h" fact="0.4869"/>
              <dgm:constr type="w" for="ch" forName="image_accent_1" refType="w" fact="0.2344"/>
              <dgm:constr type="h" for="ch" forName="image_accent_1" refType="h" fact="0.2661"/>
              <dgm:constr type="l" for="ch" forName="image_1" refType="w" fact="0.5435"/>
              <dgm:constr type="t" for="ch" forName="image_1" refType="h" fact="0.4971"/>
              <dgm:constr type="w" for="ch" forName="image_1" refType="w" fact="0.2164"/>
              <dgm:constr type="h" for="ch" forName="image_1" refType="h" fact="0.2456"/>
              <dgm:constr type="l" for="ch" forName="parent_text_1" refType="w" fact="0.6522"/>
              <dgm:constr type="t" for="ch" forName="parent_text_1" refType="h" fact="0.3501"/>
              <dgm:constr type="w" for="ch" forName="parent_text_1" refType="w" fact="0.3478"/>
              <dgm:constr type="h" for="ch" forName="parent_text_1" refType="h" fact="0.125"/>
              <dgm:constr type="l" for="ch" forName="accent_1" refType="w" fact="0.5492"/>
              <dgm:constr type="t" for="ch" forName="accent_1" refType="h" fact="0.2909"/>
              <dgm:constr type="w" for="ch" forName="accent_1" refType="w" fact="0.0696"/>
              <dgm:constr type="h" for="ch" forName="accent_1" refType="h" fact="0.0789"/>
              <dgm:constr type="l" for="ch" forName="parent_text_2" refType="w" fact="0.0211"/>
              <dgm:constr type="t" for="ch" forName="parent_text_2" refType="h" fact="0.5453"/>
              <dgm:constr type="w" for="ch" forName="parent_text_2" refType="w" fact="0.3478"/>
              <dgm:constr type="h" for="ch" forName="parent_text_2" refType="h" fact="0.1228"/>
              <dgm:constr type="l" for="ch" forName="parent_text_4" refType="w" fact="0.0644"/>
              <dgm:constr type="t" for="ch" forName="parent_text_4" refType="h" fact="0.1892"/>
              <dgm:constr type="w" for="ch" forName="parent_text_4" refType="w" fact="0.3478"/>
              <dgm:constr type="h" for="ch" forName="parent_text_4" refType="h" fact="0.1104"/>
              <dgm:constr type="l" for="ch" forName="accent_2" refType="w" fact="0.322"/>
              <dgm:constr type="t" for="ch" forName="accent_2" refType="h" fact="0.0146"/>
              <dgm:constr type="w" for="ch" forName="accent_2" refType="w" fact="0.0515"/>
              <dgm:constr type="h" for="ch" forName="accent_2" refType="h" fact="0.0585"/>
              <dgm:constr type="l" for="ch" forName="accent_3" refType="w" fact="0.2705"/>
              <dgm:constr type="t" for="ch" forName="accent_3" refType="h" fact="0"/>
              <dgm:constr type="w" for="ch" forName="accent_3" refType="w" fact="0.0258"/>
              <dgm:constr type="h" for="ch" forName="accent_3" refType="h" fact="0.0292"/>
              <dgm:constr type="l" for="ch" forName="parent_text_5" refType="w" fact="0"/>
              <dgm:constr type="t" for="ch" forName="parent_text_5" refType="h" fact="0.0717"/>
              <dgm:constr type="w" for="ch" forName="parent_text_5" refType="w" fact="0.3478"/>
              <dgm:constr type="h" for="ch" forName="parent_text_5" refType="h" fact="0.1023"/>
              <dgm:constr type="l" for="ch" forName="parent_text_3" refType="w" fact="0.034"/>
              <dgm:constr type="t" for="ch" forName="parent_text_3" refType="h" fact="0.3501"/>
              <dgm:constr type="w" for="ch" forName="parent_text_3" refType="w" fact="0.3478"/>
              <dgm:constr type="h" for="ch" forName="parent_text_3" refType="h" fact="0.1596"/>
              <dgm:constr type="l" for="ch" forName="accent_4" refType="w" fact="0.3766"/>
              <dgm:constr type="t" for="ch" forName="accent_4" refType="h" fact="0.9211"/>
              <dgm:constr type="w" for="ch" forName="accent_4" refType="w" fact="0.0696"/>
              <dgm:constr type="h" for="ch" forName="accent_4" refType="h" fact="0.0789"/>
              <dgm:constr type="l" for="ch" forName="parent_text_6" refType="w" fact="0.6328"/>
              <dgm:constr type="t" for="ch" forName="parent_text_6" refType="h" fact="0.7561"/>
              <dgm:constr type="w" for="ch" forName="parent_text_6" refType="w" fact="0.3478"/>
              <dgm:constr type="h" for="ch" forName="parent_text_6" refType="h" fact="0.1784"/>
              <dgm:constr type="l" for="ch" forName="accent_5" refType="w" fact="0.3431"/>
              <dgm:constr type="t" for="ch" forName="accent_5" refType="h" fact="0.6725"/>
              <dgm:constr type="w" for="ch" forName="accent_5" refType="w" fact="0.0386"/>
              <dgm:constr type="h" for="ch" forName="accent_5" refType="h" fact="0.0439"/>
            </dgm:constrLst>
          </dgm:else>
        </dgm:choose>
      </dgm:if>
      <dgm:if name="Name26" axis="ch" ptType="node" func="cnt" op="equ" val="7">
        <dgm:alg type="composite">
          <dgm:param type="ar" val="1.0352"/>
        </dgm:alg>
        <dgm:choose name="Name27">
          <dgm:if name="Name28" func="var" arg="dir" op="equ" val="norm">
            <dgm:constrLst>
              <dgm:constr type="primFontSz" for="des" ptType="node" op="equ" val="65"/>
              <dgm:constr type="l" for="ch" forName="accent_1" refType="w" fact="0.7553"/>
              <dgm:constr type="t" for="ch" forName="accent_1" refType="h" fact="0.96"/>
              <dgm:constr type="w" for="ch" forName="accent_1" refType="w" fact="0.0386"/>
              <dgm:constr type="h" for="ch" forName="accent_1" refType="h" fact="0.04"/>
              <dgm:constr type="l" for="ch" forName="image_accent_2" refType="w" fact="0.4832"/>
              <dgm:constr type="t" for="ch" forName="image_accent_2" refType="h" fact="0.4899"/>
              <dgm:constr type="w" for="ch" forName="image_accent_2" refType="w" fact="0.1226"/>
              <dgm:constr type="h" for="ch" forName="image_accent_2" refType="h" fact="0.1269"/>
              <dgm:constr type="l" for="ch" forName="image_2" refType="w" fact="0.4904"/>
              <dgm:constr type="t" for="ch" forName="image_2" refType="h" fact="0.4973"/>
              <dgm:constr type="w" for="ch" forName="image_2" refType="w" fact="0.1082"/>
              <dgm:constr type="h" for="ch" forName="image_2" refType="h" fact="0.112"/>
              <dgm:constr type="l" for="ch" forName="image_accent_3" refType="w" fact="0.4352"/>
              <dgm:constr type="t" for="ch" forName="image_accent_3" refType="h" fact="0.3107"/>
              <dgm:constr type="w" for="ch" forName="image_accent_3" refType="w" fact="0.1573"/>
              <dgm:constr type="h" for="ch" forName="image_accent_3" refType="h" fact="0.1628"/>
              <dgm:constr type="l" for="ch" forName="image_3" refType="w" fact="0.4435"/>
              <dgm:constr type="t" for="ch" forName="image_3" refType="h" fact="0.3193"/>
              <dgm:constr type="w" for="ch" forName="image_3" refType="w" fact="0.1407"/>
              <dgm:constr type="h" for="ch" forName="image_3" refType="h" fact="0.1456"/>
              <dgm:constr type="l" for="ch" forName="image_accent_4" refType="w" fact="0.4528"/>
              <dgm:constr type="t" for="ch" forName="image_accent_4" refType="h" fact="0.1659"/>
              <dgm:constr type="w" for="ch" forName="image_accent_4" refType="w" fact="0.1103"/>
              <dgm:constr type="h" for="ch" forName="image_accent_4" refType="h" fact="0.1141"/>
              <dgm:constr type="l" for="ch" forName="image_4" refType="w" fact="0.4593"/>
              <dgm:constr type="t" for="ch" forName="image_4" refType="h" fact="0.1726"/>
              <dgm:constr type="w" for="ch" forName="image_4" refType="w" fact="0.0973"/>
              <dgm:constr type="h" for="ch" forName="image_4" refType="h" fact="0.1007"/>
              <dgm:constr type="l" for="ch" forName="image_accent_5" refType="w" fact="0.5301"/>
              <dgm:constr type="t" for="ch" forName="image_accent_5" refType="h" fact="0.0592"/>
              <dgm:constr type="w" for="ch" forName="image_accent_5" refType="w" fact="0.1022"/>
              <dgm:constr type="h" for="ch" forName="image_accent_5" refType="h" fact="0.1058"/>
              <dgm:constr type="l" for="ch" forName="image_5" refType="w" fact="0.5361"/>
              <dgm:constr type="t" for="ch" forName="image_5" refType="h" fact="0.0654"/>
              <dgm:constr type="w" for="ch" forName="image_5" refType="w" fact="0.0902"/>
              <dgm:constr type="h" for="ch" forName="image_5" refType="h" fact="0.0933"/>
              <dgm:constr type="l" for="ch" forName="image_accent_6" refType="w" fact="0.3864"/>
              <dgm:constr type="t" for="ch" forName="image_accent_6" refType="h" fact="0.68"/>
              <dgm:constr type="w" for="ch" forName="image_accent_6" refType="w" fact="0.1757"/>
              <dgm:constr type="h" for="ch" forName="image_accent_6" refType="h" fact="0.1819"/>
              <dgm:constr type="l" for="ch" forName="image_6" refType="w" fact="0.3957"/>
              <dgm:constr type="t" for="ch" forName="image_6" refType="h" fact="0.6896"/>
              <dgm:constr type="w" for="ch" forName="image_6" refType="w" fact="0.1572"/>
              <dgm:constr type="h" for="ch" forName="image_6" refType="h" fact="0.1627"/>
              <dgm:constr type="l" for="ch" forName="image_accent_7" refType="w" fact="0.5291"/>
              <dgm:constr type="t" for="ch" forName="image_accent_7" refType="h" fact="0.8325"/>
              <dgm:constr type="w" for="ch" forName="image_accent_7" refType="w" fact="0.1103"/>
              <dgm:constr type="h" for="ch" forName="image_accent_7" refType="h" fact="0.1141"/>
              <dgm:constr type="l" for="ch" forName="image_7" refType="w" fact="0.5356"/>
              <dgm:constr type="t" for="ch" forName="image_7" refType="h" fact="0.8392"/>
              <dgm:constr type="w" for="ch" forName="image_7" refType="w" fact="0.0973"/>
              <dgm:constr type="h" for="ch" forName="image_7" refType="h" fact="0.1007"/>
              <dgm:constr type="l" for="ch" forName="image_accent_1" refType="w" fact="0.2318"/>
              <dgm:constr type="t" for="ch" forName="image_accent_1" refType="h" fact="0.444"/>
              <dgm:constr type="w" for="ch" forName="image_accent_1" refType="w" fact="0.2344"/>
              <dgm:constr type="h" for="ch" forName="image_accent_1" refType="h" fact="0.2426"/>
              <dgm:constr type="l" for="ch" forName="image_1" refType="w" fact="0.2408"/>
              <dgm:constr type="t" for="ch" forName="image_1" refType="h" fact="0.4533"/>
              <dgm:constr type="w" for="ch" forName="image_1" refType="w" fact="0.2164"/>
              <dgm:constr type="h" for="ch" forName="image_1" refType="h" fact="0.224"/>
              <dgm:constr type="l" for="ch" forName="parent_text_1" refType="w" fact="0"/>
              <dgm:constr type="t" for="ch" forName="parent_text_1" refType="h" fact="0.3193"/>
              <dgm:constr type="w" for="ch" forName="parent_text_1" refType="w" fact="0.3478"/>
              <dgm:constr type="h" for="ch" forName="parent_text_1" refType="h" fact="0.115"/>
              <dgm:constr type="l" for="ch" forName="accent_2" refType="w" fact="0.3813"/>
              <dgm:constr type="t" for="ch" forName="accent_2" refType="h" fact="0.2653"/>
              <dgm:constr type="w" for="ch" forName="accent_2" refType="w" fact="0.0696"/>
              <dgm:constr type="h" for="ch" forName="accent_2" refType="h" fact="0.072"/>
              <dgm:constr type="l" for="ch" forName="parent_text_2" refType="w" fact="0.6311"/>
              <dgm:constr type="t" for="ch" forName="parent_text_2" refType="h" fact="0.4973"/>
              <dgm:constr type="w" for="ch" forName="parent_text_2" refType="w" fact="0.3478"/>
              <dgm:constr type="h" for="ch" forName="parent_text_2" refType="h" fact="0.112"/>
              <dgm:constr type="l" for="ch" forName="parent_text_4" refType="w" fact="0.5878"/>
              <dgm:constr type="t" for="ch" forName="parent_text_4" refType="h" fact="0.1726"/>
              <dgm:constr type="w" for="ch" forName="parent_text_4" refType="w" fact="0.3478"/>
              <dgm:constr type="h" for="ch" forName="parent_text_4" refType="h" fact="0.1007"/>
              <dgm:constr type="l" for="ch" forName="accent_3" refType="w" fact="0.7038"/>
              <dgm:constr type="t" for="ch" forName="accent_3" refType="h" fact="0"/>
              <dgm:constr type="w" for="ch" forName="accent_3" refType="w" fact="0.0258"/>
              <dgm:constr type="h" for="ch" forName="accent_3" refType="h" fact="0.0267"/>
              <dgm:constr type="l" for="ch" forName="parent_text_5" refType="w" fact="0.6522"/>
              <dgm:constr type="t" for="ch" forName="parent_text_5" refType="h" fact="0.0654"/>
              <dgm:constr type="w" for="ch" forName="parent_text_5" refType="w" fact="0.3478"/>
              <dgm:constr type="h" for="ch" forName="parent_text_5" refType="h" fact="0.0933"/>
              <dgm:constr type="l" for="ch" forName="parent_text_3" refType="w" fact="0.6182"/>
              <dgm:constr type="t" for="ch" forName="parent_text_3" refType="h" fact="0.3193"/>
              <dgm:constr type="w" for="ch" forName="parent_text_3" refType="w" fact="0.3478"/>
              <dgm:constr type="h" for="ch" forName="parent_text_3" refType="h" fact="0.1456"/>
              <dgm:constr type="l" for="ch" forName="parent_text_6" refType="w" fact="0.02"/>
              <dgm:constr type="t" for="ch" forName="parent_text_6" refType="h" fact="0.6896"/>
              <dgm:constr type="w" for="ch" forName="parent_text_6" refType="w" fact="0.3478"/>
              <dgm:constr type="h" for="ch" forName="parent_text_6" refType="h" fact="0.1627"/>
              <dgm:constr type="l" for="ch" forName="accent_4" refType="w" fact="0.6265"/>
              <dgm:constr type="t" for="ch" forName="accent_4" refType="h" fact="0.0213"/>
              <dgm:constr type="w" for="ch" forName="accent_4" refType="w" fact="0.0515"/>
              <dgm:constr type="h" for="ch" forName="accent_4" refType="h" fact="0.0533"/>
              <dgm:constr type="l" for="ch" forName="accent_5" refType="w" fact="0.6522"/>
              <dgm:constr type="t" for="ch" forName="accent_5" refType="h" fact="0.92"/>
              <dgm:constr type="w" for="ch" forName="accent_5" refType="w" fact="0.0696"/>
              <dgm:constr type="h" for="ch" forName="accent_5" refType="h" fact="0.072"/>
              <dgm:constr type="l" for="ch" forName="parent_text_7" refType="w" fact="0.105"/>
              <dgm:constr type="t" for="ch" forName="parent_text_7" refType="h" fact="0.87"/>
              <dgm:constr type="w" for="ch" forName="parent_text_7" refType="w" fact="0.407"/>
              <dgm:constr type="h" for="ch" forName="parent_text_7" refType="h" fact="0.13"/>
              <dgm:constr type="l" for="ch" forName="accent_6" refType="w" fact="0.6136"/>
              <dgm:constr type="t" for="ch" forName="accent_6" refType="h" fact="0.6133"/>
              <dgm:constr type="w" for="ch" forName="accent_6" refType="w" fact="0.0386"/>
              <dgm:constr type="h" for="ch" forName="accent_6" refType="h" fact="0.04"/>
            </dgm:constrLst>
          </dgm:if>
          <dgm:else name="Name29">
            <dgm:constrLst>
              <dgm:constr type="primFontSz" for="des" ptType="node" op="equ" val="65"/>
              <dgm:constr type="l" for="ch" forName="accent_1" refType="w" fact="0.2061"/>
              <dgm:constr type="t" for="ch" forName="accent_1" refType="h" fact="0.96"/>
              <dgm:constr type="w" for="ch" forName="accent_1" refType="w" fact="0.0386"/>
              <dgm:constr type="h" for="ch" forName="accent_1" refType="h" fact="0.04"/>
              <dgm:constr type="l" for="ch" forName="image_accent_7" refType="w" fact="0.3606"/>
              <dgm:constr type="t" for="ch" forName="image_accent_7" refType="h" fact="0.8325"/>
              <dgm:constr type="w" for="ch" forName="image_accent_7" refType="w" fact="0.1103"/>
              <dgm:constr type="h" for="ch" forName="image_accent_7" refType="h" fact="0.1141"/>
              <dgm:constr type="l" for="ch" forName="image_7" refType="w" fact="0.3671"/>
              <dgm:constr type="t" for="ch" forName="image_7" refType="h" fact="0.8392"/>
              <dgm:constr type="w" for="ch" forName="image_7" refType="w" fact="0.0973"/>
              <dgm:constr type="h" for="ch" forName="image_7" refType="h" fact="0.1007"/>
              <dgm:constr type="l" for="ch" forName="image_accent_6" refType="w" fact="0.4379"/>
              <dgm:constr type="t" for="ch" forName="image_accent_6" refType="h" fact="0.68"/>
              <dgm:constr type="w" for="ch" forName="image_accent_6" refType="w" fact="0.1757"/>
              <dgm:constr type="h" for="ch" forName="image_accent_6" refType="h" fact="0.1819"/>
              <dgm:constr type="l" for="ch" forName="image_6" refType="w" fact="0.4471"/>
              <dgm:constr type="t" for="ch" forName="image_6" refType="h" fact="0.6896"/>
              <dgm:constr type="w" for="ch" forName="image_6" refType="w" fact="0.1572"/>
              <dgm:constr type="h" for="ch" forName="image_6" refType="h" fact="0.1627"/>
              <dgm:constr type="l" for="ch" forName="image_accent_5" refType="w" fact="0.3677"/>
              <dgm:constr type="t" for="ch" forName="image_accent_5" refType="h" fact="0.0592"/>
              <dgm:constr type="w" for="ch" forName="image_accent_5" refType="w" fact="0.1022"/>
              <dgm:constr type="h" for="ch" forName="image_accent_5" refType="h" fact="0.1058"/>
              <dgm:constr type="l" for="ch" forName="image_5" refType="w" fact="0.3738"/>
              <dgm:constr type="t" for="ch" forName="image_5" refType="h" fact="0.0654"/>
              <dgm:constr type="w" for="ch" forName="image_5" refType="w" fact="0.0902"/>
              <dgm:constr type="h" for="ch" forName="image_5" refType="h" fact="0.0933"/>
              <dgm:constr type="l" for="ch" forName="image_accent_4" refType="w" fact="0.437"/>
              <dgm:constr type="t" for="ch" forName="image_accent_4" refType="h" fact="0.1659"/>
              <dgm:constr type="w" for="ch" forName="image_accent_4" refType="w" fact="0.1103"/>
              <dgm:constr type="h" for="ch" forName="image_accent_4" refType="h" fact="0.1141"/>
              <dgm:constr type="l" for="ch" forName="image_4" refType="w" fact="0.4434"/>
              <dgm:constr type="t" for="ch" forName="image_4" refType="h" fact="0.1726"/>
              <dgm:constr type="w" for="ch" forName="image_4" refType="w" fact="0.0973"/>
              <dgm:constr type="h" for="ch" forName="image_4" refType="h" fact="0.1007"/>
              <dgm:constr type="l" for="ch" forName="image_accent_2" refType="w" fact="0.3942"/>
              <dgm:constr type="t" for="ch" forName="image_accent_2" refType="h" fact="0.4899"/>
              <dgm:constr type="w" for="ch" forName="image_accent_2" refType="w" fact="0.1226"/>
              <dgm:constr type="h" for="ch" forName="image_accent_2" refType="h" fact="0.1269"/>
              <dgm:constr type="l" for="ch" forName="image_2" refType="w" fact="0.4014"/>
              <dgm:constr type="t" for="ch" forName="image_2" refType="h" fact="0.4973"/>
              <dgm:constr type="w" for="ch" forName="image_2" refType="w" fact="0.1082"/>
              <dgm:constr type="h" for="ch" forName="image_2" refType="h" fact="0.112"/>
              <dgm:constr type="l" for="ch" forName="image_accent_3" refType="w" fact="0.4075"/>
              <dgm:constr type="t" for="ch" forName="image_accent_3" refType="h" fact="0.3107"/>
              <dgm:constr type="w" for="ch" forName="image_accent_3" refType="w" fact="0.1573"/>
              <dgm:constr type="h" for="ch" forName="image_accent_3" refType="h" fact="0.1628"/>
              <dgm:constr type="l" for="ch" forName="image_3" refType="w" fact="0.4158"/>
              <dgm:constr type="t" for="ch" forName="image_3" refType="h" fact="0.3193"/>
              <dgm:constr type="w" for="ch" forName="image_3" refType="w" fact="0.1407"/>
              <dgm:constr type="h" for="ch" forName="image_3" refType="h" fact="0.1456"/>
              <dgm:constr type="l" for="ch" forName="image_accent_1" refType="w" fact="0.5338"/>
              <dgm:constr type="t" for="ch" forName="image_accent_1" refType="h" fact="0.444"/>
              <dgm:constr type="w" for="ch" forName="image_accent_1" refType="w" fact="0.2344"/>
              <dgm:constr type="h" for="ch" forName="image_accent_1" refType="h" fact="0.2426"/>
              <dgm:constr type="l" for="ch" forName="image_1" refType="w" fact="0.5428"/>
              <dgm:constr type="t" for="ch" forName="image_1" refType="h" fact="0.4533"/>
              <dgm:constr type="w" for="ch" forName="image_1" refType="w" fact="0.2164"/>
              <dgm:constr type="h" for="ch" forName="image_1" refType="h" fact="0.224"/>
              <dgm:constr type="l" for="ch" forName="parent_text_1" refType="w" fact="0.6522"/>
              <dgm:constr type="t" for="ch" forName="parent_text_1" refType="h" fact="0.3193"/>
              <dgm:constr type="w" for="ch" forName="parent_text_1" refType="w" fact="0.3478"/>
              <dgm:constr type="h" for="ch" forName="parent_text_1" refType="h" fact="0.115"/>
              <dgm:constr type="l" for="ch" forName="accent_2" refType="w" fact="0.5492"/>
              <dgm:constr type="t" for="ch" forName="accent_2" refType="h" fact="0.2653"/>
              <dgm:constr type="w" for="ch" forName="accent_2" refType="w" fact="0.0696"/>
              <dgm:constr type="h" for="ch" forName="accent_2" refType="h" fact="0.072"/>
              <dgm:constr type="l" for="ch" forName="parent_text_2" refType="w" fact="0.0211"/>
              <dgm:constr type="t" for="ch" forName="parent_text_2" refType="h" fact="0.4973"/>
              <dgm:constr type="w" for="ch" forName="parent_text_2" refType="w" fact="0.3478"/>
              <dgm:constr type="h" for="ch" forName="parent_text_2" refType="h" fact="0.112"/>
              <dgm:constr type="l" for="ch" forName="parent_text_4" refType="w" fact="0.0644"/>
              <dgm:constr type="t" for="ch" forName="parent_text_4" refType="h" fact="0.1726"/>
              <dgm:constr type="w" for="ch" forName="parent_text_4" refType="w" fact="0.3478"/>
              <dgm:constr type="h" for="ch" forName="parent_text_4" refType="h" fact="0.1007"/>
              <dgm:constr type="l" for="ch" forName="accent_3" refType="w" fact="0.2705"/>
              <dgm:constr type="t" for="ch" forName="accent_3" refType="h" fact="0"/>
              <dgm:constr type="w" for="ch" forName="accent_3" refType="w" fact="0.0258"/>
              <dgm:constr type="h" for="ch" forName="accent_3" refType="h" fact="0.0267"/>
              <dgm:constr type="l" for="ch" forName="parent_text_5" refType="w" fact="0"/>
              <dgm:constr type="t" for="ch" forName="parent_text_5" refType="h" fact="0.0654"/>
              <dgm:constr type="w" for="ch" forName="parent_text_5" refType="w" fact="0.3478"/>
              <dgm:constr type="h" for="ch" forName="parent_text_5" refType="h" fact="0.0933"/>
              <dgm:constr type="l" for="ch" forName="parent_text_3" refType="w" fact="0.034"/>
              <dgm:constr type="t" for="ch" forName="parent_text_3" refType="h" fact="0.3193"/>
              <dgm:constr type="w" for="ch" forName="parent_text_3" refType="w" fact="0.3478"/>
              <dgm:constr type="h" for="ch" forName="parent_text_3" refType="h" fact="0.1456"/>
              <dgm:constr type="l" for="ch" forName="parent_text_6" refType="w" fact="0.63"/>
              <dgm:constr type="t" for="ch" forName="parent_text_6" refType="h" fact="0.6896"/>
              <dgm:constr type="w" for="ch" forName="parent_text_6" refType="w" fact="0.3478"/>
              <dgm:constr type="h" for="ch" forName="parent_text_6" refType="h" fact="0.1627"/>
              <dgm:constr type="l" for="ch" forName="accent_4" refType="w" fact="0.322"/>
              <dgm:constr type="t" for="ch" forName="accent_4" refType="h" fact="0.0213"/>
              <dgm:constr type="w" for="ch" forName="accent_4" refType="w" fact="0.0515"/>
              <dgm:constr type="h" for="ch" forName="accent_4" refType="h" fact="0.0533"/>
              <dgm:constr type="l" for="ch" forName="accent_5" refType="w" fact="0.2782"/>
              <dgm:constr type="t" for="ch" forName="accent_5" refType="h" fact="0.92"/>
              <dgm:constr type="w" for="ch" forName="accent_5" refType="w" fact="0.0696"/>
              <dgm:constr type="h" for="ch" forName="accent_5" refType="h" fact="0.072"/>
              <dgm:constr type="l" for="ch" forName="parent_text_7" refType="w" fact="0.485"/>
              <dgm:constr type="t" for="ch" forName="parent_text_7" refType="h" fact="0.87"/>
              <dgm:constr type="w" for="ch" forName="parent_text_7" refType="w" fact="0.347"/>
              <dgm:constr type="h" for="ch" forName="parent_text_7" refType="h" fact="0.13"/>
              <dgm:constr type="l" for="ch" forName="accent_6" refType="w" fact="0.3478"/>
              <dgm:constr type="t" for="ch" forName="accent_6" refType="h" fact="0.6133"/>
              <dgm:constr type="w" for="ch" forName="accent_6" refType="w" fact="0.0386"/>
              <dgm:constr type="h" for="ch" forName="accent_6" refType="h" fact="0.04"/>
            </dgm:constrLst>
          </dgm:else>
        </dgm:choose>
        <dgm:layoutNode name="accent_6" styleLbl="alignNode1">
          <dgm:alg type="sp"/>
          <dgm:shape xmlns:r="http://schemas.openxmlformats.org/officeDocument/2006/relationships" type="donut" r:blip="">
            <dgm:adjLst>
              <dgm:adj idx="1" val="0.0746"/>
            </dgm:adjLst>
          </dgm:shape>
          <dgm:presOf/>
        </dgm:layoutNode>
      </dgm:if>
      <dgm:else name="Name30">
        <dgm:alg type="composite">
          <dgm:param type="ar" val="0.9705"/>
        </dgm:alg>
        <dgm:choose name="Name31">
          <dgm:if name="Name32" func="var" arg="dir" op="equ" val="norm">
            <dgm:constrLst>
              <dgm:constr type="primFontSz" for="des" ptType="node" op="equ" val="65"/>
              <dgm:constr type="l" for="ch" forName="accent_1" refType="w" fact="0.7599"/>
              <dgm:constr type="t" for="ch" forName="accent_1" refType="h" fact="0.925"/>
              <dgm:constr type="w" for="ch" forName="accent_1" refType="w" fact="0.0386"/>
              <dgm:constr type="h" for="ch" forName="accent_1" refType="h" fact="0.0375"/>
              <dgm:constr type="l" for="ch" forName="accent_2" refType="w" fact="0.6182"/>
              <dgm:constr type="t" for="ch" forName="accent_2" refType="h" fact="0.575"/>
              <dgm:constr type="w" for="ch" forName="accent_2" refType="w" fact="0.0386"/>
              <dgm:constr type="h" for="ch" forName="accent_2" refType="h" fact="0.0375"/>
              <dgm:constr type="l" for="ch" forName="image_accent_8" refType="w" fact="0.6449"/>
              <dgm:constr type="t" for="ch" forName="image_accent_8" refType="h" fact="0.8508"/>
              <dgm:constr type="w" for="ch" forName="image_accent_8" refType="w" fact="0.1022"/>
              <dgm:constr type="h" for="ch" forName="image_accent_8" refType="h" fact="0.0992"/>
              <dgm:constr type="l" for="ch" forName="image_8" refType="w" fact="0.6538"/>
              <dgm:constr type="t" for="ch" forName="image_8" refType="h" fact="0.8595"/>
              <dgm:constr type="w" for="ch" forName="image_8" refType="w" fact="0.0844"/>
              <dgm:constr type="h" for="ch" forName="image_8" refType="h" fact="0.0819"/>
              <dgm:constr type="l" for="ch" forName="image_accent_7" refType="w" fact="0.5291"/>
              <dgm:constr type="t" for="ch" forName="image_accent_7" refType="h" fact="0.7805"/>
              <dgm:constr type="w" for="ch" forName="image_accent_7" refType="w" fact="0.1103"/>
              <dgm:constr type="h" for="ch" forName="image_accent_7" refType="h" fact="0.107"/>
              <dgm:constr type="l" for="ch" forName="image_7" refType="w" fact="0.5356"/>
              <dgm:constr type="t" for="ch" forName="image_7" refType="h" fact="0.7868"/>
              <dgm:constr type="w" for="ch" forName="image_7" refType="w" fact="0.0973"/>
              <dgm:constr type="h" for="ch" forName="image_7" refType="h" fact="0.0944"/>
              <dgm:constr type="l" for="ch" forName="image_accent_6" refType="w" fact="0.3864"/>
              <dgm:constr type="t" for="ch" forName="image_accent_6" refType="h" fact="0.6375"/>
              <dgm:constr type="w" for="ch" forName="image_accent_6" refType="w" fact="0.1757"/>
              <dgm:constr type="h" for="ch" forName="image_accent_6" refType="h" fact="0.1706"/>
              <dgm:constr type="l" for="ch" forName="image_6" refType="w" fact="0.3957"/>
              <dgm:constr type="t" for="ch" forName="image_6" refType="h" fact="0.6465"/>
              <dgm:constr type="w" for="ch" forName="image_6" refType="w" fact="0.1572"/>
              <dgm:constr type="h" for="ch" forName="image_6" refType="h" fact="0.1525"/>
              <dgm:constr type="l" for="ch" forName="image_accent_5" refType="w" fact="0.5301"/>
              <dgm:constr type="t" for="ch" forName="image_accent_5" refType="h" fact="0.0555"/>
              <dgm:constr type="w" for="ch" forName="image_accent_5" refType="w" fact="0.1022"/>
              <dgm:constr type="h" for="ch" forName="image_accent_5" refType="h" fact="0.0992"/>
              <dgm:constr type="l" for="ch" forName="image_5" refType="w" fact="0.5361"/>
              <dgm:constr type="t" for="ch" forName="image_5" refType="h" fact="0.0613"/>
              <dgm:constr type="w" for="ch" forName="image_5" refType="w" fact="0.0902"/>
              <dgm:constr type="h" for="ch" forName="image_5" refType="h" fact="0.0875"/>
              <dgm:constr type="l" for="ch" forName="image_accent_4" refType="w" fact="0.4528"/>
              <dgm:constr type="t" for="ch" forName="image_accent_4" refType="h" fact="0.1555"/>
              <dgm:constr type="w" for="ch" forName="image_accent_4" refType="w" fact="0.1103"/>
              <dgm:constr type="h" for="ch" forName="image_accent_4" refType="h" fact="0.107"/>
              <dgm:constr type="l" for="ch" forName="image_4" refType="w" fact="0.4593"/>
              <dgm:constr type="t" for="ch" forName="image_4" refType="h" fact="0.1618"/>
              <dgm:constr type="w" for="ch" forName="image_4" refType="w" fact="0.0973"/>
              <dgm:constr type="h" for="ch" forName="image_4" refType="h" fact="0.0944"/>
              <dgm:constr type="l" for="ch" forName="image_accent_2" refType="w" fact="0.4832"/>
              <dgm:constr type="t" for="ch" forName="image_accent_2" refType="h" fact="0.4593"/>
              <dgm:constr type="w" for="ch" forName="image_accent_2" refType="w" fact="0.1226"/>
              <dgm:constr type="h" for="ch" forName="image_accent_2" refType="h" fact="0.119"/>
              <dgm:constr type="l" for="ch" forName="image_2" refType="w" fact="0.4904"/>
              <dgm:constr type="t" for="ch" forName="image_2" refType="h" fact="0.4663"/>
              <dgm:constr type="w" for="ch" forName="image_2" refType="w" fact="0.1082"/>
              <dgm:constr type="h" for="ch" forName="image_2" refType="h" fact="0.105"/>
              <dgm:constr type="l" for="ch" forName="image_accent_3" refType="w" fact="0.4352"/>
              <dgm:constr type="t" for="ch" forName="image_accent_3" refType="h" fact="0.2913"/>
              <dgm:constr type="w" for="ch" forName="image_accent_3" refType="w" fact="0.1573"/>
              <dgm:constr type="h" for="ch" forName="image_accent_3" refType="h" fact="0.1526"/>
              <dgm:constr type="l" for="ch" forName="image_3" refType="w" fact="0.4435"/>
              <dgm:constr type="t" for="ch" forName="image_3" refType="h" fact="0.2993"/>
              <dgm:constr type="w" for="ch" forName="image_3" refType="w" fact="0.1407"/>
              <dgm:constr type="h" for="ch" forName="image_3" refType="h" fact="0.1365"/>
              <dgm:constr type="l" for="ch" forName="image_accent_1" refType="w" fact="0.2318"/>
              <dgm:constr type="t" for="ch" forName="image_accent_1" refType="h" fact="0.4163"/>
              <dgm:constr type="w" for="ch" forName="image_accent_1" refType="w" fact="0.2344"/>
              <dgm:constr type="h" for="ch" forName="image_accent_1" refType="h" fact="0.2275"/>
              <dgm:constr type="l" for="ch" forName="image_1" refType="w" fact="0.2408"/>
              <dgm:constr type="t" for="ch" forName="image_1" refType="h" fact="0.425"/>
              <dgm:constr type="w" for="ch" forName="image_1" refType="w" fact="0.2164"/>
              <dgm:constr type="h" for="ch" forName="image_1" refType="h" fact="0.21"/>
              <dgm:constr type="l" for="ch" forName="parent_text_1" refType="w" fact="0"/>
              <dgm:constr type="t" for="ch" forName="parent_text_1" refType="h" fact="0.2993"/>
              <dgm:constr type="w" for="ch" forName="parent_text_1" refType="w" fact="0.3478"/>
              <dgm:constr type="h" for="ch" forName="parent_text_1" refType="h" fact="0.11"/>
              <dgm:constr type="l" for="ch" forName="accent_3" refType="w" fact="0.3813"/>
              <dgm:constr type="t" for="ch" forName="accent_3" refType="h" fact="0.2488"/>
              <dgm:constr type="w" for="ch" forName="accent_3" refType="w" fact="0.0696"/>
              <dgm:constr type="h" for="ch" forName="accent_3" refType="h" fact="0.0675"/>
              <dgm:constr type="l" for="ch" forName="parent_text_2" refType="w" fact="0.6311"/>
              <dgm:constr type="t" for="ch" forName="parent_text_2" refType="h" fact="0.4663"/>
              <dgm:constr type="w" for="ch" forName="parent_text_2" refType="w" fact="0.3478"/>
              <dgm:constr type="h" for="ch" forName="parent_text_2" refType="h" fact="0.105"/>
              <dgm:constr type="l" for="ch" forName="parent_text_4" refType="w" fact="0.5878"/>
              <dgm:constr type="t" for="ch" forName="parent_text_4" refType="h" fact="0.1618"/>
              <dgm:constr type="w" for="ch" forName="parent_text_4" refType="w" fact="0.3478"/>
              <dgm:constr type="h" for="ch" forName="parent_text_4" refType="h" fact="0.0944"/>
              <dgm:constr type="l" for="ch" forName="accent_4" refType="w" fact="0.7038"/>
              <dgm:constr type="t" for="ch" forName="accent_4" refType="h" fact="0"/>
              <dgm:constr type="w" for="ch" forName="accent_4" refType="w" fact="0.0258"/>
              <dgm:constr type="h" for="ch" forName="accent_4" refType="h" fact="0.025"/>
              <dgm:constr type="l" for="ch" forName="parent_text_5" refType="w" fact="0.6522"/>
              <dgm:constr type="t" for="ch" forName="parent_text_5" refType="h" fact="0.0625"/>
              <dgm:constr type="w" for="ch" forName="parent_text_5" refType="w" fact="0.3478"/>
              <dgm:constr type="h" for="ch" forName="parent_text_5" refType="h" fact="0.0863"/>
              <dgm:constr type="l" for="ch" forName="parent_text_3" refType="w" fact="0.6182"/>
              <dgm:constr type="t" for="ch" forName="parent_text_3" refType="h" fact="0.2993"/>
              <dgm:constr type="w" for="ch" forName="parent_text_3" refType="w" fact="0.3478"/>
              <dgm:constr type="h" for="ch" forName="parent_text_3" refType="h" fact="0.1365"/>
              <dgm:constr type="l" for="ch" forName="parent_text_6" refType="w" fact="0.02"/>
              <dgm:constr type="t" for="ch" forName="parent_text_6" refType="h" fact="0.6465"/>
              <dgm:constr type="w" for="ch" forName="parent_text_6" refType="w" fact="0.3478"/>
              <dgm:constr type="h" for="ch" forName="parent_text_6" refType="h" fact="0.1525"/>
              <dgm:constr type="l" for="ch" forName="accent_5" refType="w" fact="0.6265"/>
              <dgm:constr type="t" for="ch" forName="accent_5" refType="h" fact="0.02"/>
              <dgm:constr type="w" for="ch" forName="accent_5" refType="w" fact="0.0515"/>
              <dgm:constr type="h" for="ch" forName="accent_5" refType="h" fact="0.05"/>
              <dgm:constr type="l" for="ch" forName="parent_text_7" refType="w" fact="0.165"/>
              <dgm:constr type="t" for="ch" forName="parent_text_7" refType="h" fact="0.81"/>
              <dgm:constr type="w" for="ch" forName="parent_text_7" refType="w" fact="0.3478"/>
              <dgm:constr type="h" for="ch" forName="parent_text_7" refType="h" fact="0.077"/>
              <dgm:constr type="l" for="ch" forName="parent_text_8" refType="w" fact="0.275"/>
              <dgm:constr type="t" for="ch" forName="parent_text_8" refType="h" fact="0.89"/>
              <dgm:constr type="w" for="ch" forName="parent_text_8" refType="w" fact="0.3478"/>
              <dgm:constr type="h" for="ch" forName="parent_text_8" refType="h" fact="0.11"/>
            </dgm:constrLst>
          </dgm:if>
          <dgm:else name="Name33">
            <dgm:constrLst>
              <dgm:constr type="primFontSz" for="des" ptType="node" op="equ" val="65"/>
              <dgm:constr type="l" for="ch" forName="accent_1" refType="w" fact="0.2014"/>
              <dgm:constr type="t" for="ch" forName="accent_1" refType="h" fact="0.925"/>
              <dgm:constr type="w" for="ch" forName="accent_1" refType="w" fact="0.0386"/>
              <dgm:constr type="h" for="ch" forName="accent_1" refType="h" fact="0.0375"/>
              <dgm:constr type="l" for="ch" forName="accent_2" refType="w" fact="0.3431"/>
              <dgm:constr type="t" for="ch" forName="accent_2" refType="h" fact="0.575"/>
              <dgm:constr type="w" for="ch" forName="accent_2" refType="w" fact="0.0386"/>
              <dgm:constr type="h" for="ch" forName="accent_2" refType="h" fact="0.0375"/>
              <dgm:constr type="l" for="ch" forName="image_accent_8" refType="w" fact="0.253"/>
              <dgm:constr type="t" for="ch" forName="image_accent_8" refType="h" fact="0.8508"/>
              <dgm:constr type="w" for="ch" forName="image_accent_8" refType="w" fact="0.1022"/>
              <dgm:constr type="h" for="ch" forName="image_accent_8" refType="h" fact="0.0992"/>
              <dgm:constr type="l" for="ch" forName="image_8" refType="w" fact="0.2619"/>
              <dgm:constr type="t" for="ch" forName="image_8" refType="h" fact="0.8595"/>
              <dgm:constr type="w" for="ch" forName="image_8" refType="w" fact="0.0844"/>
              <dgm:constr type="h" for="ch" forName="image_8" refType="h" fact="0.0819"/>
              <dgm:constr type="l" for="ch" forName="image_accent_7" refType="w" fact="0.3606"/>
              <dgm:constr type="t" for="ch" forName="image_accent_7" refType="h" fact="0.7805"/>
              <dgm:constr type="w" for="ch" forName="image_accent_7" refType="w" fact="0.1103"/>
              <dgm:constr type="h" for="ch" forName="image_accent_7" refType="h" fact="0.107"/>
              <dgm:constr type="l" for="ch" forName="image_7" refType="w" fact="0.3671"/>
              <dgm:constr type="t" for="ch" forName="image_7" refType="h" fact="0.7868"/>
              <dgm:constr type="w" for="ch" forName="image_7" refType="w" fact="0.0973"/>
              <dgm:constr type="h" for="ch" forName="image_7" refType="h" fact="0.0944"/>
              <dgm:constr type="l" for="ch" forName="image_accent_6" refType="w" fact="0.4379"/>
              <dgm:constr type="t" for="ch" forName="image_accent_6" refType="h" fact="0.6375"/>
              <dgm:constr type="w" for="ch" forName="image_accent_6" refType="w" fact="0.1757"/>
              <dgm:constr type="h" for="ch" forName="image_accent_6" refType="h" fact="0.1706"/>
              <dgm:constr type="l" for="ch" forName="image_6" refType="w" fact="0.4471"/>
              <dgm:constr type="t" for="ch" forName="image_6" refType="h" fact="0.6465"/>
              <dgm:constr type="w" for="ch" forName="image_6" refType="w" fact="0.1572"/>
              <dgm:constr type="h" for="ch" forName="image_6" refType="h" fact="0.1525"/>
              <dgm:constr type="l" for="ch" forName="image_accent_5" refType="w" fact="0.3677"/>
              <dgm:constr type="t" for="ch" forName="image_accent_5" refType="h" fact="0.0555"/>
              <dgm:constr type="w" for="ch" forName="image_accent_5" refType="w" fact="0.1022"/>
              <dgm:constr type="h" for="ch" forName="image_accent_5" refType="h" fact="0.0992"/>
              <dgm:constr type="l" for="ch" forName="image_5" refType="w" fact="0.3738"/>
              <dgm:constr type="t" for="ch" forName="image_5" refType="h" fact="0.0613"/>
              <dgm:constr type="w" for="ch" forName="image_5" refType="w" fact="0.0902"/>
              <dgm:constr type="h" for="ch" forName="image_5" refType="h" fact="0.0875"/>
              <dgm:constr type="l" for="ch" forName="image_accent_4" refType="w" fact="0.437"/>
              <dgm:constr type="t" for="ch" forName="image_accent_4" refType="h" fact="0.1555"/>
              <dgm:constr type="w" for="ch" forName="image_accent_4" refType="w" fact="0.1103"/>
              <dgm:constr type="h" for="ch" forName="image_accent_4" refType="h" fact="0.107"/>
              <dgm:constr type="l" for="ch" forName="image_4" refType="w" fact="0.4434"/>
              <dgm:constr type="t" for="ch" forName="image_4" refType="h" fact="0.1618"/>
              <dgm:constr type="w" for="ch" forName="image_4" refType="w" fact="0.0973"/>
              <dgm:constr type="h" for="ch" forName="image_4" refType="h" fact="0.0944"/>
              <dgm:constr type="l" for="ch" forName="image_accent_2" refType="w" fact="0.3942"/>
              <dgm:constr type="t" for="ch" forName="image_accent_2" refType="h" fact="0.4593"/>
              <dgm:constr type="w" for="ch" forName="image_accent_2" refType="w" fact="0.1226"/>
              <dgm:constr type="h" for="ch" forName="image_accent_2" refType="h" fact="0.119"/>
              <dgm:constr type="l" for="ch" forName="image_2" refType="w" fact="0.4014"/>
              <dgm:constr type="t" for="ch" forName="image_2" refType="h" fact="0.4663"/>
              <dgm:constr type="w" for="ch" forName="image_2" refType="w" fact="0.1082"/>
              <dgm:constr type="h" for="ch" forName="image_2" refType="h" fact="0.105"/>
              <dgm:constr type="l" for="ch" forName="image_accent_3" refType="w" fact="0.4075"/>
              <dgm:constr type="t" for="ch" forName="image_accent_3" refType="h" fact="0.2913"/>
              <dgm:constr type="w" for="ch" forName="image_accent_3" refType="w" fact="0.1573"/>
              <dgm:constr type="h" for="ch" forName="image_accent_3" refType="h" fact="0.1526"/>
              <dgm:constr type="l" for="ch" forName="image_3" refType="w" fact="0.4158"/>
              <dgm:constr type="t" for="ch" forName="image_3" refType="h" fact="0.2993"/>
              <dgm:constr type="w" for="ch" forName="image_3" refType="w" fact="0.1407"/>
              <dgm:constr type="h" for="ch" forName="image_3" refType="h" fact="0.1365"/>
              <dgm:constr type="l" for="ch" forName="image_accent_1" refType="w" fact="0.5338"/>
              <dgm:constr type="t" for="ch" forName="image_accent_1" refType="h" fact="0.4163"/>
              <dgm:constr type="w" for="ch" forName="image_accent_1" refType="w" fact="0.2344"/>
              <dgm:constr type="h" for="ch" forName="image_accent_1" refType="h" fact="0.2275"/>
              <dgm:constr type="l" for="ch" forName="image_1" refType="w" fact="0.5428"/>
              <dgm:constr type="t" for="ch" forName="image_1" refType="h" fact="0.425"/>
              <dgm:constr type="w" for="ch" forName="image_1" refType="w" fact="0.2164"/>
              <dgm:constr type="h" for="ch" forName="image_1" refType="h" fact="0.21"/>
              <dgm:constr type="l" for="ch" forName="parent_text_1" refType="w" fact="0.6522"/>
              <dgm:constr type="t" for="ch" forName="parent_text_1" refType="h" fact="0.2993"/>
              <dgm:constr type="w" for="ch" forName="parent_text_1" refType="w" fact="0.3478"/>
              <dgm:constr type="h" for="ch" forName="parent_text_1" refType="h" fact="0.11"/>
              <dgm:constr type="l" for="ch" forName="accent_3" refType="w" fact="0.5492"/>
              <dgm:constr type="t" for="ch" forName="accent_3" refType="h" fact="0.2488"/>
              <dgm:constr type="w" for="ch" forName="accent_3" refType="w" fact="0.0696"/>
              <dgm:constr type="h" for="ch" forName="accent_3" refType="h" fact="0.0675"/>
              <dgm:constr type="l" for="ch" forName="parent_text_2" refType="w" fact="0.0211"/>
              <dgm:constr type="t" for="ch" forName="parent_text_2" refType="h" fact="0.4663"/>
              <dgm:constr type="w" for="ch" forName="parent_text_2" refType="w" fact="0.3478"/>
              <dgm:constr type="h" for="ch" forName="parent_text_2" refType="h" fact="0.105"/>
              <dgm:constr type="l" for="ch" forName="parent_text_4" refType="w" fact="0.0635"/>
              <dgm:constr type="t" for="ch" forName="parent_text_4" refType="h" fact="0.1618"/>
              <dgm:constr type="w" for="ch" forName="parent_text_4" refType="w" fact="0.3478"/>
              <dgm:constr type="h" for="ch" forName="parent_text_4" refType="h" fact="0.0944"/>
              <dgm:constr type="l" for="ch" forName="accent_4" refType="w" fact="0.2705"/>
              <dgm:constr type="t" for="ch" forName="accent_4" refType="h" fact="0"/>
              <dgm:constr type="w" for="ch" forName="accent_4" refType="w" fact="0.0258"/>
              <dgm:constr type="h" for="ch" forName="accent_4" refType="h" fact="0.025"/>
              <dgm:constr type="l" for="ch" forName="parent_text_5" refType="w" fact="0"/>
              <dgm:constr type="t" for="ch" forName="parent_text_5" refType="h" fact="0.0625"/>
              <dgm:constr type="w" for="ch" forName="parent_text_5" refType="w" fact="0.3478"/>
              <dgm:constr type="h" for="ch" forName="parent_text_5" refType="h" fact="0.0863"/>
              <dgm:constr type="l" for="ch" forName="parent_text_3" refType="w" fact="0.034"/>
              <dgm:constr type="t" for="ch" forName="parent_text_3" refType="h" fact="0.2993"/>
              <dgm:constr type="w" for="ch" forName="parent_text_3" refType="w" fact="0.3478"/>
              <dgm:constr type="h" for="ch" forName="parent_text_3" refType="h" fact="0.1365"/>
              <dgm:constr type="l" for="ch" forName="parent_text_6" refType="w" fact="0.635"/>
              <dgm:constr type="t" for="ch" forName="parent_text_6" refType="h" fact="0.6465"/>
              <dgm:constr type="w" for="ch" forName="parent_text_6" refType="w" fact="0.3478"/>
              <dgm:constr type="h" for="ch" forName="parent_text_6" refType="h" fact="0.1525"/>
              <dgm:constr type="l" for="ch" forName="accent_5" refType="w" fact="0.322"/>
              <dgm:constr type="t" for="ch" forName="accent_5" refType="h" fact="0.02"/>
              <dgm:constr type="w" for="ch" forName="accent_5" refType="w" fact="0.0515"/>
              <dgm:constr type="h" for="ch" forName="accent_5" refType="h" fact="0.05"/>
              <dgm:constr type="l" for="ch" forName="parent_text_7" refType="w" fact="0.49"/>
              <dgm:constr type="t" for="ch" forName="parent_text_7" refType="h" fact="0.81"/>
              <dgm:constr type="w" for="ch" forName="parent_text_7" refType="w" fact="0.3478"/>
              <dgm:constr type="h" for="ch" forName="parent_text_7" refType="h" fact="0.077"/>
              <dgm:constr type="l" for="ch" forName="parent_text_8" refType="w" fact="0.375"/>
              <dgm:constr type="t" for="ch" forName="parent_text_8" refType="h" fact="0.89"/>
              <dgm:constr type="w" for="ch" forName="parent_text_8" refType="w" fact="0.3478"/>
              <dgm:constr type="h" for="ch" forName="parent_text_8" refType="h" fact="0.11"/>
            </dgm:constrLst>
          </dgm:else>
        </dgm:choose>
      </dgm:else>
    </dgm:choose>
    <dgm:forEach name="wrapper" axis="self" ptType="parTrans">
      <dgm:forEach name="wrapper2" axis="self" ptType="sibTrans" st="2">
        <dgm:forEach name="imageAccentRepeat" axis="self">
          <dgm:layoutNode name="imageAccentRepeatNode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</dgm:forEach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forEach name="Name34" axis="ch" ptType="node" cnt="1">
      <dgm:layoutNode name="parent_text_1" styleLbl="revTx">
        <dgm:varLst>
          <dgm:chMax val="0"/>
          <dgm:chPref val="0"/>
          <dgm:bulletEnabled val="1"/>
        </dgm:varLst>
        <dgm:choose name="Name35">
          <dgm:if name="Name36" func="var" arg="dir" op="equ" val="norm">
            <dgm:alg type="tx">
              <dgm:param type="parTxLTRAlign" val="r"/>
              <dgm:param type="shpTxLTRAlignCh" val="r"/>
              <dgm:param type="txAnchorVert" val="b"/>
              <dgm:param type="lnSpCh" val="15"/>
            </dgm:alg>
          </dgm:if>
          <dgm:else name="Name37">
            <dgm:alg type="tx">
              <dgm:param type="parTxLTRAlign" val="l"/>
              <dgm:param type="shpTxLTRAlignCh" val="l"/>
              <dgm:param type="txAnchorVert" val="b"/>
              <dgm:param type="lnSpCh" val="15"/>
            </dgm:alg>
          </dgm:else>
        </dgm:choose>
        <dgm:shape xmlns:r="http://schemas.openxmlformats.org/officeDocument/2006/relationships" type="rect" r:blip="" zOrderOff="99999">
          <dgm:adjLst/>
        </dgm:shape>
        <dgm:presOf axis="desOr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01"/>
        </dgm:constrLst>
        <dgm:ruleLst>
          <dgm:rule type="primFontSz" val="5" fact="NaN" max="NaN"/>
        </dgm:ruleLst>
      </dgm:layoutNode>
      <dgm:layoutNode name="image_accent_1">
        <dgm:alg type="sp"/>
        <dgm:shape xmlns:r="http://schemas.openxmlformats.org/officeDocument/2006/relationships" r:blip="">
          <dgm:adjLst/>
        </dgm:shape>
        <dgm:presOf/>
        <dgm:constrLst/>
        <dgm:forEach name="Name38" ref="imageAccentRepeat"/>
      </dgm:layoutNode>
      <dgm:layoutNode name="accent_1" styleLbl="alignNode1">
        <dgm:alg type="sp"/>
        <dgm:shape xmlns:r="http://schemas.openxmlformats.org/officeDocument/2006/relationships" type="donut" r:blip="">
          <dgm:adjLst>
            <dgm:adj idx="1" val="0.0746"/>
          </dgm:adjLst>
        </dgm:shape>
        <dgm:presOf/>
      </dgm:layoutNode>
    </dgm:forEach>
    <dgm:forEach name="Name39" axis="ch" ptType="sibTrans" hideLastTrans="0" cnt="1">
      <dgm:layoutNode name="image_1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</dgm:forEach>
    <dgm:forEach name="Name41" axis="ch" ptType="node" st="2" cnt="1">
      <dgm:layoutNode name="parent_text_2" styleLbl="revTx">
        <dgm:varLst>
          <dgm:chMax val="0"/>
          <dgm:chPref val="0"/>
          <dgm:bulletEnabled val="1"/>
        </dgm:varLst>
        <dgm:choose name="Name42">
          <dgm:if name="Name43" func="var" arg="dir" op="equ" val="norm">
            <dgm:alg type="tx">
              <dgm:param type="parTxLTRAlign" val="l"/>
              <dgm:param type="lnSpCh" val="15"/>
            </dgm:alg>
          </dgm:if>
          <dgm:else name="Name44">
            <dgm:alg type="tx">
              <dgm:param type="parTxLTRAlign" val="r"/>
              <dgm:param type="lnSpCh" val="15"/>
            </dgm:alg>
          </dgm:else>
        </dgm:choose>
        <dgm:shape xmlns:r="http://schemas.openxmlformats.org/officeDocument/2006/relationships" type="rect" r:blip="" zOrderOff="99999">
          <dgm:adjLst/>
        </dgm:shape>
        <dgm:presOf axis="desOr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layoutNode name="image_accent_2">
        <dgm:alg type="sp"/>
        <dgm:shape xmlns:r="http://schemas.openxmlformats.org/officeDocument/2006/relationships" r:blip="">
          <dgm:adjLst/>
        </dgm:shape>
        <dgm:presOf/>
        <dgm:constrLst/>
        <dgm:forEach name="Name45" ref="imageAccentRepeat"/>
      </dgm:layoutNode>
    </dgm:forEach>
    <dgm:forEach name="Name46" axis="ch" ptType="sibTrans" hideLastTrans="0" st="2" cnt="1">
      <dgm:layoutNode name="image_2">
        <dgm:alg type="sp"/>
        <dgm:shape xmlns:r="http://schemas.openxmlformats.org/officeDocument/2006/relationships" r:blip="">
          <dgm:adjLst/>
        </dgm:shape>
        <dgm:presOf/>
        <dgm:constrLst/>
        <dgm:forEach name="Name47" ref="imageRepeat"/>
      </dgm:layoutNode>
    </dgm:forEach>
    <dgm:forEach name="Name48" axis="ch" ptType="node" st="3" cnt="1">
      <dgm:layoutNode name="image_accent_3">
        <dgm:alg type="sp"/>
        <dgm:shape xmlns:r="http://schemas.openxmlformats.org/officeDocument/2006/relationships" r:blip="">
          <dgm:adjLst/>
        </dgm:shape>
        <dgm:presOf/>
        <dgm:constrLst/>
        <dgm:forEach name="Name49" ref="imageAccentRepeat"/>
      </dgm:layoutNode>
      <dgm:layoutNode name="parent_text_3" styleLbl="revTx">
        <dgm:varLst>
          <dgm:chMax val="0"/>
          <dgm:chPref val="0"/>
          <dgm:bulletEnabled val="1"/>
        </dgm:varLst>
        <dgm:choose name="Name50">
          <dgm:if name="Name51" func="var" arg="dir" op="equ" val="norm">
            <dgm:alg type="tx">
              <dgm:param type="parTxLTRAlign" val="l"/>
              <dgm:param type="lnSpCh" val="15"/>
            </dgm:alg>
          </dgm:if>
          <dgm:else name="Name52">
            <dgm:alg type="tx">
              <dgm:param type="parTxLTRAlign" val="r"/>
              <dgm:param type="lnSpCh" val="15"/>
            </dgm:alg>
          </dgm:else>
        </dgm:choose>
        <dgm:shape xmlns:r="http://schemas.openxmlformats.org/officeDocument/2006/relationships" type="rect" r:blip="" zOrderOff="99999">
          <dgm:adjLst/>
        </dgm:shape>
        <dgm:presOf axis="desOr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layoutNode name="accent_2" styleLbl="alignNode1">
        <dgm:alg type="sp"/>
        <dgm:shape xmlns:r="http://schemas.openxmlformats.org/officeDocument/2006/relationships" type="donut" r:blip="">
          <dgm:adjLst>
            <dgm:adj idx="1" val="0.0746"/>
          </dgm:adjLst>
        </dgm:shape>
        <dgm:presOf/>
      </dgm:layoutNode>
      <dgm:layoutNode name="accent_3" styleLbl="alignNode1">
        <dgm:alg type="sp"/>
        <dgm:shape xmlns:r="http://schemas.openxmlformats.org/officeDocument/2006/relationships" type="donut" r:blip="">
          <dgm:adjLst>
            <dgm:adj idx="1" val="0.0746"/>
          </dgm:adjLst>
        </dgm:shape>
        <dgm:presOf/>
      </dgm:layoutNode>
    </dgm:forEach>
    <dgm:forEach name="Name53" axis="ch" ptType="sibTrans" hideLastTrans="0" st="3" cnt="1">
      <dgm:layoutNode name="image_3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</dgm:forEach>
    <dgm:forEach name="Name55" axis="ch" ptType="node" st="4" cnt="1">
      <dgm:layoutNode name="image_accent_4">
        <dgm:alg type="sp"/>
        <dgm:shape xmlns:r="http://schemas.openxmlformats.org/officeDocument/2006/relationships" r:blip="">
          <dgm:adjLst/>
        </dgm:shape>
        <dgm:presOf/>
        <dgm:constrLst/>
        <dgm:forEach name="Name56" ref="imageAccentRepeat"/>
      </dgm:layoutNode>
      <dgm:layoutNode name="parent_text_4" styleLbl="revTx">
        <dgm:varLst>
          <dgm:chMax val="0"/>
          <dgm:chPref val="0"/>
          <dgm:bulletEnabled val="1"/>
        </dgm:varLst>
        <dgm:choose name="Name57">
          <dgm:if name="Name58" func="var" arg="dir" op="equ" val="norm">
            <dgm:alg type="tx">
              <dgm:param type="parTxLTRAlign" val="l"/>
              <dgm:param type="lnSpCh" val="15"/>
            </dgm:alg>
          </dgm:if>
          <dgm:else name="Name59">
            <dgm:alg type="tx">
              <dgm:param type="parTxLTRAlign" val="r"/>
              <dgm:param type="lnSpCh" val="15"/>
            </dgm:alg>
          </dgm:else>
        </dgm:choose>
        <dgm:shape xmlns:r="http://schemas.openxmlformats.org/officeDocument/2006/relationships" type="rect" r:blip="" zOrderOff="99999">
          <dgm:adjLst/>
        </dgm:shape>
        <dgm:presOf axis="desOr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layoutNode name="accent_4" styleLbl="alignNode1">
        <dgm:alg type="sp"/>
        <dgm:shape xmlns:r="http://schemas.openxmlformats.org/officeDocument/2006/relationships" type="donut" r:blip="">
          <dgm:adjLst>
            <dgm:adj idx="1" val="0.0746"/>
          </dgm:adjLst>
        </dgm:shape>
        <dgm:presOf/>
      </dgm:layoutNode>
    </dgm:forEach>
    <dgm:forEach name="Name60" axis="ch" ptType="sibTrans" hideLastTrans="0" st="4" cnt="1">
      <dgm:layoutNode name="image_4">
        <dgm:alg type="sp"/>
        <dgm:shape xmlns:r="http://schemas.openxmlformats.org/officeDocument/2006/relationships" r:blip="">
          <dgm:adjLst/>
        </dgm:shape>
        <dgm:presOf/>
        <dgm:constrLst/>
        <dgm:forEach name="Name61" ref="imageRepeat"/>
      </dgm:layoutNode>
    </dgm:forEach>
    <dgm:forEach name="Name62" axis="ch" ptType="node" st="5" cnt="1">
      <dgm:layoutNode name="image_accent_5">
        <dgm:alg type="sp"/>
        <dgm:shape xmlns:r="http://schemas.openxmlformats.org/officeDocument/2006/relationships" r:blip="">
          <dgm:adjLst/>
        </dgm:shape>
        <dgm:presOf/>
        <dgm:constrLst/>
        <dgm:forEach name="Name63" ref="imageAccentRepeat"/>
      </dgm:layoutNode>
      <dgm:layoutNode name="parent_text_5" styleLbl="revTx">
        <dgm:varLst>
          <dgm:chMax val="0"/>
          <dgm:chPref val="0"/>
          <dgm:bulletEnabled val="1"/>
        </dgm:varLst>
        <dgm:choose name="Name64">
          <dgm:if name="Name65" func="var" arg="dir" op="equ" val="norm">
            <dgm:alg type="tx">
              <dgm:param type="parTxLTRAlign" val="l"/>
              <dgm:param type="lnSpCh" val="15"/>
            </dgm:alg>
          </dgm:if>
          <dgm:else name="Name66">
            <dgm:alg type="tx">
              <dgm:param type="parTxLTRAlign" val="r"/>
              <dgm:param type="lnSpCh" val="15"/>
            </dgm:alg>
          </dgm:else>
        </dgm:choose>
        <dgm:shape xmlns:r="http://schemas.openxmlformats.org/officeDocument/2006/relationships" type="rect" r:blip="" zOrderOff="99999">
          <dgm:adjLst/>
        </dgm:shape>
        <dgm:presOf axis="desOr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sibTrans" hideLastTrans="0" st="5" cnt="1">
      <dgm:layoutNode name="image_5">
        <dgm:alg type="sp"/>
        <dgm:shape xmlns:r="http://schemas.openxmlformats.org/officeDocument/2006/relationships" r:blip="">
          <dgm:adjLst/>
        </dgm:shape>
        <dgm:presOf/>
        <dgm:constrLst/>
        <dgm:forEach name="Name68" ref="imageRepeat"/>
      </dgm:layoutNode>
    </dgm:forEach>
    <dgm:forEach name="Name69" axis="ch" ptType="node" st="6" cnt="1">
      <dgm:layoutNode name="parent_text_6" styleLbl="revTx">
        <dgm:varLst>
          <dgm:chMax val="0"/>
          <dgm:chPref val="0"/>
          <dgm:bulletEnabled val="1"/>
        </dgm:varLst>
        <dgm:choose name="Name70">
          <dgm:if name="Name71" func="var" arg="dir" op="equ" val="norm">
            <dgm:alg type="tx">
              <dgm:param type="parTxLTRAlign" val="r"/>
              <dgm:param type="shpTxLTRAlignCh" val="r"/>
              <dgm:param type="lnSpCh" val="15"/>
            </dgm:alg>
          </dgm:if>
          <dgm:else name="Name72">
            <dgm:alg type="tx">
              <dgm:param type="parTxLTRAlign" val="l"/>
              <dgm:param type="shpTxLTRAlignCh" val="l"/>
              <dgm:param type="lnSpCh" val="15"/>
            </dgm:alg>
          </dgm:else>
        </dgm:choose>
        <dgm:shape xmlns:r="http://schemas.openxmlformats.org/officeDocument/2006/relationships" type="rect" r:blip="" zOrderOff="99999">
          <dgm:adjLst/>
        </dgm:shape>
        <dgm:presOf axis="desOr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layoutNode name="image_accent_6">
        <dgm:alg type="sp"/>
        <dgm:shape xmlns:r="http://schemas.openxmlformats.org/officeDocument/2006/relationships" r:blip="">
          <dgm:adjLst/>
        </dgm:shape>
        <dgm:presOf/>
        <dgm:constrLst/>
        <dgm:forEach name="Name73" ref="imageAccentRepeat"/>
      </dgm:layoutNode>
      <dgm:layoutNode name="accent_5" styleLbl="alignNode1">
        <dgm:alg type="sp"/>
        <dgm:shape xmlns:r="http://schemas.openxmlformats.org/officeDocument/2006/relationships" type="donut" r:blip="">
          <dgm:adjLst>
            <dgm:adj idx="1" val="0.0746"/>
          </dgm:adjLst>
        </dgm:shape>
        <dgm:presOf/>
      </dgm:layoutNode>
    </dgm:forEach>
    <dgm:forEach name="Name74" axis="ch" ptType="sibTrans" hideLastTrans="0" st="6" cnt="1">
      <dgm:layoutNode name="image_6">
        <dgm:alg type="sp"/>
        <dgm:shape xmlns:r="http://schemas.openxmlformats.org/officeDocument/2006/relationships" r:blip="">
          <dgm:adjLst/>
        </dgm:shape>
        <dgm:presOf/>
        <dgm:constrLst/>
        <dgm:forEach name="Name75" ref="imageRepeat"/>
      </dgm:layoutNode>
    </dgm:forEach>
    <dgm:forEach name="Name76" axis="ch" ptType="node" st="7" cnt="1">
      <dgm:layoutNode name="parent_text_7" styleLbl="revTx">
        <dgm:varLst>
          <dgm:chMax val="0"/>
          <dgm:chPref val="0"/>
          <dgm:bulletEnabled val="1"/>
        </dgm:varLst>
        <dgm:choose name="Name77">
          <dgm:if name="Name78" func="var" arg="dir" op="equ" val="norm">
            <dgm:alg type="tx">
              <dgm:param type="parTxLTRAlign" val="r"/>
              <dgm:param type="shpTxLTRAlignCh" val="r"/>
              <dgm:param type="txAnchorVert" val="t"/>
              <dgm:param type="lnSpCh" val="15"/>
            </dgm:alg>
          </dgm:if>
          <dgm:else name="Name79">
            <dgm:alg type="tx">
              <dgm:param type="parTxLTRAlign" val="l"/>
              <dgm:param type="shpTxLTRAlignCh" val="l"/>
              <dgm:param type="txAnchorVert" val="t"/>
              <dgm:param type="lnSpCh" val="15"/>
            </dgm:alg>
          </dgm:else>
        </dgm:choose>
        <dgm:shape xmlns:r="http://schemas.openxmlformats.org/officeDocument/2006/relationships" type="rect" r:blip="" zOrderOff="99999">
          <dgm:adjLst/>
        </dgm:shape>
        <dgm:presOf axis="desOr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layoutNode name="image_accent_7">
        <dgm:alg type="sp"/>
        <dgm:shape xmlns:r="http://schemas.openxmlformats.org/officeDocument/2006/relationships" r:blip="">
          <dgm:adjLst/>
        </dgm:shape>
        <dgm:presOf/>
        <dgm:constrLst/>
        <dgm:forEach name="Name80" ref="imageAccentRepeat"/>
      </dgm:layoutNode>
    </dgm:forEach>
    <dgm:forEach name="Name81" axis="ch" ptType="sibTrans" hideLastTrans="0" st="7" cnt="1">
      <dgm:layoutNode name="image_7">
        <dgm:alg type="sp"/>
        <dgm:shape xmlns:r="http://schemas.openxmlformats.org/officeDocument/2006/relationships" r:blip="">
          <dgm:adjLst/>
        </dgm:shape>
        <dgm:presOf/>
        <dgm:constrLst/>
        <dgm:forEach name="Name82" ref="imageRepeat"/>
      </dgm:layoutNode>
    </dgm:forEach>
    <dgm:forEach name="Name83" axis="ch" ptType="node" st="8" cnt="1">
      <dgm:layoutNode name="parent_text_8" styleLbl="revTx">
        <dgm:varLst>
          <dgm:chMax val="0"/>
          <dgm:chPref val="0"/>
          <dgm:bulletEnabled val="1"/>
        </dgm:varLst>
        <dgm:choose name="Name84">
          <dgm:if name="Name85" func="var" arg="dir" op="equ" val="norm">
            <dgm:alg type="tx">
              <dgm:param type="parTxLTRAlign" val="r"/>
              <dgm:param type="shpTxLTRAlignCh" val="r"/>
              <dgm:param type="txAnchorVert" val="t"/>
              <dgm:param type="lnSpCh" val="15"/>
            </dgm:alg>
          </dgm:if>
          <dgm:else name="Name86">
            <dgm:alg type="tx">
              <dgm:param type="parTxLTRAlign" val="l"/>
              <dgm:param type="shpTxLTRAlignCh" val="l"/>
              <dgm:param type="txAnchorVert" val="t"/>
              <dgm:param type="lnSpCh" val="15"/>
            </dgm:alg>
          </dgm:else>
        </dgm:choose>
        <dgm:shape xmlns:r="http://schemas.openxmlformats.org/officeDocument/2006/relationships" type="rect" r:blip="" zOrderOff="99999">
          <dgm:adjLst/>
        </dgm:shape>
        <dgm:presOf axis="desOr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layoutNode name="image_accent_8">
        <dgm:alg type="sp"/>
        <dgm:shape xmlns:r="http://schemas.openxmlformats.org/officeDocument/2006/relationships" r:blip="">
          <dgm:adjLst/>
        </dgm:shape>
        <dgm:presOf/>
        <dgm:constrLst/>
        <dgm:forEach name="Name87" ref="imageAccentRepeat"/>
      </dgm:layoutNode>
    </dgm:forEach>
    <dgm:forEach name="Name88" axis="ch" ptType="sibTrans" hideLastTrans="0" st="8" cnt="1">
      <dgm:layoutNode name="image_8">
        <dgm:alg type="sp"/>
        <dgm:shape xmlns:r="http://schemas.openxmlformats.org/officeDocument/2006/relationships" r:blip="">
          <dgm:adjLst/>
        </dgm:shape>
        <dgm:presOf/>
        <dgm:constrLst/>
        <dgm:forEach name="Name89" ref="imageRepeat"/>
      </dgm:layoutNod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569071-B5A1-3B42-B19B-FDFBD2741EE0}" type="datetimeFigureOut">
              <a:rPr lang="en-US" smtClean="0"/>
              <a:pPr/>
              <a:t>3/18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9AABFE-33F7-794C-A193-80E303339FF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9250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1B0E3F-B646-44A4-9DF0-8CD941002570}" type="datetimeFigureOut">
              <a:rPr lang="en-US" smtClean="0"/>
              <a:pPr/>
              <a:t>3/18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3632B8-5A7D-4309-A488-8EC1B58CD5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521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TODO::</a:t>
            </a:r>
            <a:r>
              <a:rPr lang="en-US" b="0" baseline="0" dirty="0" smtClean="0"/>
              <a:t> Add 	Data Mining</a:t>
            </a:r>
          </a:p>
          <a:p>
            <a:r>
              <a:rPr lang="en-US" b="0" baseline="0" dirty="0" smtClean="0"/>
              <a:t>	Finish Big Data</a:t>
            </a:r>
          </a:p>
          <a:p>
            <a:r>
              <a:rPr lang="en-US" b="0" baseline="0" dirty="0" smtClean="0"/>
              <a:t>	Go over DWH last time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4171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5248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4959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6300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1641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process of understanding and mapping the data in the Organiza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8415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385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2527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931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0107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Project Manager</a:t>
            </a:r>
            <a:r>
              <a:rPr lang="en-US" sz="1200" baseline="0" dirty="0"/>
              <a:t> </a:t>
            </a:r>
            <a:r>
              <a:rPr lang="en-US" sz="1200" baseline="0" dirty="0" smtClean="0"/>
              <a:t>– Time li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ystem / Solution Architect – Vision</a:t>
            </a:r>
            <a:r>
              <a:rPr lang="en-US" baseline="0" dirty="0" smtClean="0"/>
              <a:t> Structure, technolo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dirty="0" smtClean="0"/>
              <a:t>Business  Analyst – Business discovery, requirements gathering and analy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	Data Modeler – Physical</a:t>
            </a:r>
            <a:r>
              <a:rPr lang="en-US" sz="1200" baseline="0" dirty="0" smtClean="0"/>
              <a:t> data design, source to target mapping</a:t>
            </a:r>
            <a:endParaRPr lang="en-US" sz="12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Dev Team Leader – Development management + Hand 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I Developer – Development of reports, OLAP Cubes,</a:t>
            </a:r>
            <a:r>
              <a:rPr lang="en-US" baseline="0" dirty="0" smtClean="0"/>
              <a:t> In Memory and mo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dirty="0" smtClean="0"/>
              <a:t>ETL Developer</a:t>
            </a:r>
            <a:r>
              <a:rPr lang="en-US" b="0" i="0" u="none" baseline="0" dirty="0" smtClean="0"/>
              <a:t> – ET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DBA</a:t>
            </a:r>
            <a:r>
              <a:rPr lang="en-US" baseline="0" dirty="0" smtClean="0"/>
              <a:t> - Schema development and maintenance, performance tun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dirty="0" smtClean="0"/>
              <a:t>UX Expert – Report design and data visualizations</a:t>
            </a:r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8940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 good Data warehouse in not necessarily a large one – as the Value of the data increases, usually it’s quantity decreases!!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9433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4365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3161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949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2225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>
                <a:solidFill>
                  <a:srgbClr val="FF0000"/>
                </a:solidFill>
              </a:rPr>
              <a:t>247,915,500,00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369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10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3987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re</a:t>
            </a:r>
            <a:r>
              <a:rPr lang="en-US" baseline="0" dirty="0" smtClean="0"/>
              <a:t> are many data sources – to make decisions we need to look from a </a:t>
            </a:r>
            <a:r>
              <a:rPr lang="en-US" baseline="0" dirty="0" err="1" smtClean="0"/>
              <a:t>High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806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re</a:t>
            </a:r>
            <a:r>
              <a:rPr lang="en-US" baseline="0" dirty="0" smtClean="0"/>
              <a:t> are many data sources – to make decisions we need to look from a </a:t>
            </a:r>
            <a:r>
              <a:rPr lang="en-US" baseline="0" smtClean="0"/>
              <a:t>High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8793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re</a:t>
            </a:r>
            <a:r>
              <a:rPr lang="en-US" baseline="0" dirty="0" smtClean="0"/>
              <a:t> are many data sources – to make decisions we need to look from a </a:t>
            </a:r>
            <a:r>
              <a:rPr lang="en-US" baseline="0" dirty="0" err="1" smtClean="0"/>
              <a:t>High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62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2753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mplex</a:t>
            </a:r>
            <a:r>
              <a:rPr lang="en-US" baseline="0" dirty="0" smtClean="0"/>
              <a:t> questions like – researching the behavior of a time period across yea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831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3942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bg2"/>
                </a:solidFill>
              </a:rPr>
              <a:t>Consolidation of information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bg2"/>
                </a:solidFill>
              </a:rPr>
              <a:t>Improved query performance for rep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bg2"/>
                </a:solidFill>
              </a:rPr>
              <a:t>Separate research and decision support functions from the operational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bg2"/>
                </a:solidFill>
              </a:rPr>
              <a:t>Foundation for data mining, data visualization, advanced reporting and OLAP tool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632B8-5A7D-4309-A488-8EC1B58CD56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091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3.emf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7.emf"/><Relationship Id="rId4" Type="http://schemas.openxmlformats.org/officeDocument/2006/relationships/image" Target="../media/image10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10.emf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Main Compan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Logo_AGT_rgb_1mm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632" y="348902"/>
            <a:ext cx="2745865" cy="69202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" y="4403724"/>
            <a:ext cx="9144000" cy="2454276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954975" y="4271202"/>
            <a:ext cx="7772400" cy="936625"/>
          </a:xfrm>
          <a:prstGeom prst="rect">
            <a:avLst/>
          </a:prstGeom>
        </p:spPr>
        <p:txBody>
          <a:bodyPr lIns="91440"/>
          <a:lstStyle>
            <a:lvl1pPr algn="l">
              <a:defRPr lang="en-US" sz="2200" b="1" kern="1200" smtClean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954975" y="5361985"/>
            <a:ext cx="6400800" cy="3967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800" b="1" kern="1200" smtClean="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954975" y="5725788"/>
            <a:ext cx="6400800" cy="304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b="0" kern="1200" dirty="0" smtClean="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1455736"/>
            <a:ext cx="9144000" cy="2897190"/>
            <a:chOff x="0" y="1455736"/>
            <a:chExt cx="9144000" cy="289719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1455738"/>
              <a:ext cx="180032" cy="2897187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615" y="1455738"/>
              <a:ext cx="8344631" cy="2897188"/>
            </a:xfrm>
            <a:prstGeom prst="rect">
              <a:avLst/>
            </a:prstGeom>
          </p:spPr>
        </p:pic>
        <p:sp>
          <p:nvSpPr>
            <p:cNvPr id="22" name="Rectangle 21"/>
            <p:cNvSpPr/>
            <p:nvPr userDrawn="1"/>
          </p:nvSpPr>
          <p:spPr>
            <a:xfrm>
              <a:off x="8623300" y="1455736"/>
              <a:ext cx="520700" cy="2897187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6231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Intro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2262" y="1465513"/>
            <a:ext cx="9160310" cy="3962541"/>
            <a:chOff x="-2262" y="1465513"/>
            <a:chExt cx="9160310" cy="3962541"/>
          </a:xfrm>
        </p:grpSpPr>
        <p:sp>
          <p:nvSpPr>
            <p:cNvPr id="25" name="Rectangle 24"/>
            <p:cNvSpPr/>
            <p:nvPr userDrawn="1"/>
          </p:nvSpPr>
          <p:spPr>
            <a:xfrm>
              <a:off x="223428" y="1465513"/>
              <a:ext cx="8353727" cy="3962540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8623300" y="1465513"/>
              <a:ext cx="534748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-2262" y="1465514"/>
              <a:ext cx="180032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Text Placeholder 2"/>
          <p:cNvSpPr>
            <a:spLocks noGrp="1"/>
          </p:cNvSpPr>
          <p:nvPr userDrawn="1">
            <p:ph type="body" idx="15" hasCustomPrompt="1"/>
          </p:nvPr>
        </p:nvSpPr>
        <p:spPr>
          <a:xfrm>
            <a:off x="5121838" y="4104024"/>
            <a:ext cx="2289055" cy="11620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None/>
              <a:defRPr sz="13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 dirty="0" smtClean="0">
                <a:solidFill>
                  <a:srgbClr val="F4F1E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lick to Insert Text</a:t>
            </a:r>
            <a:endParaRPr lang="en-US" sz="1200" dirty="0">
              <a:solidFill>
                <a:srgbClr val="F4F1E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5" name="Text Placeholder 7"/>
          <p:cNvSpPr>
            <a:spLocks noGrp="1"/>
          </p:cNvSpPr>
          <p:nvPr userDrawn="1">
            <p:ph type="body" sz="quarter" idx="23"/>
          </p:nvPr>
        </p:nvSpPr>
        <p:spPr>
          <a:xfrm>
            <a:off x="5129423" y="3687331"/>
            <a:ext cx="2844995" cy="381000"/>
          </a:xfrm>
        </p:spPr>
        <p:txBody>
          <a:bodyPr>
            <a:noAutofit/>
          </a:bodyPr>
          <a:lstStyle>
            <a:lvl1pPr marL="0" indent="0" algn="l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38" name="Text Placeholder 2"/>
          <p:cNvSpPr>
            <a:spLocks noGrp="1"/>
          </p:cNvSpPr>
          <p:nvPr userDrawn="1">
            <p:ph type="body" idx="24" hasCustomPrompt="1"/>
          </p:nvPr>
        </p:nvSpPr>
        <p:spPr>
          <a:xfrm>
            <a:off x="1028925" y="4104024"/>
            <a:ext cx="1894895" cy="11620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None/>
              <a:defRPr sz="13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 dirty="0" smtClean="0">
                <a:solidFill>
                  <a:srgbClr val="F4F1E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lick to Insert Text</a:t>
            </a:r>
            <a:endParaRPr lang="en-US" sz="1200" dirty="0">
              <a:solidFill>
                <a:srgbClr val="F4F1E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0" name="Text Placeholder 2"/>
          <p:cNvSpPr>
            <a:spLocks noGrp="1"/>
          </p:cNvSpPr>
          <p:nvPr userDrawn="1">
            <p:ph type="body" idx="25" hasCustomPrompt="1"/>
          </p:nvPr>
        </p:nvSpPr>
        <p:spPr>
          <a:xfrm>
            <a:off x="3066100" y="4104024"/>
            <a:ext cx="1894895" cy="11620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None/>
              <a:defRPr sz="13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 dirty="0" smtClean="0">
                <a:solidFill>
                  <a:srgbClr val="F4F1E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lick to Insert Text</a:t>
            </a:r>
            <a:endParaRPr lang="en-US" sz="1200" dirty="0">
              <a:solidFill>
                <a:srgbClr val="F4F1E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" name="Text Placeholder 7"/>
          <p:cNvSpPr>
            <a:spLocks noGrp="1"/>
          </p:cNvSpPr>
          <p:nvPr userDrawn="1">
            <p:ph type="body" sz="quarter" idx="26"/>
          </p:nvPr>
        </p:nvSpPr>
        <p:spPr>
          <a:xfrm>
            <a:off x="1029398" y="3687331"/>
            <a:ext cx="1894894" cy="381000"/>
          </a:xfrm>
        </p:spPr>
        <p:txBody>
          <a:bodyPr>
            <a:noAutofit/>
          </a:bodyPr>
          <a:lstStyle>
            <a:lvl1pPr marL="0" indent="0" algn="l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43" name="Text Placeholder 7"/>
          <p:cNvSpPr>
            <a:spLocks noGrp="1"/>
          </p:cNvSpPr>
          <p:nvPr userDrawn="1">
            <p:ph type="body" sz="quarter" idx="27"/>
          </p:nvPr>
        </p:nvSpPr>
        <p:spPr>
          <a:xfrm>
            <a:off x="3073686" y="3687331"/>
            <a:ext cx="1894894" cy="381000"/>
          </a:xfrm>
        </p:spPr>
        <p:txBody>
          <a:bodyPr>
            <a:noAutofit/>
          </a:bodyPr>
          <a:lstStyle>
            <a:lvl1pPr marL="0" indent="0" algn="l"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177456" y="3173229"/>
            <a:ext cx="0" cy="3429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5301726" y="3173229"/>
            <a:ext cx="0" cy="3429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3233662" y="3173229"/>
            <a:ext cx="0" cy="34290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Placeholder 1"/>
          <p:cNvSpPr>
            <a:spLocks noGrp="1"/>
          </p:cNvSpPr>
          <p:nvPr userDrawn="1">
            <p:ph type="title"/>
          </p:nvPr>
        </p:nvSpPr>
        <p:spPr>
          <a:xfrm>
            <a:off x="457200" y="350838"/>
            <a:ext cx="8123238" cy="5635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464224" y="1779523"/>
            <a:ext cx="1426464" cy="1426464"/>
            <a:chOff x="162973" y="2163931"/>
            <a:chExt cx="1426464" cy="1426464"/>
          </a:xfrm>
        </p:grpSpPr>
        <p:sp>
          <p:nvSpPr>
            <p:cNvPr id="56" name="Oval 55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solidFill>
              <a:srgbClr val="464646"/>
            </a:solidFill>
            <a:ln w="19050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355" y="2475177"/>
              <a:ext cx="785700" cy="803973"/>
            </a:xfrm>
            <a:prstGeom prst="rect">
              <a:avLst/>
            </a:prstGeom>
          </p:spPr>
        </p:pic>
      </p:grpSp>
      <p:grpSp>
        <p:nvGrpSpPr>
          <p:cNvPr id="58" name="Group 57"/>
          <p:cNvGrpSpPr/>
          <p:nvPr userDrawn="1"/>
        </p:nvGrpSpPr>
        <p:grpSpPr>
          <a:xfrm>
            <a:off x="4586373" y="1779523"/>
            <a:ext cx="1426464" cy="1426464"/>
            <a:chOff x="162973" y="2163931"/>
            <a:chExt cx="1426464" cy="1426464"/>
          </a:xfrm>
        </p:grpSpPr>
        <p:sp>
          <p:nvSpPr>
            <p:cNvPr id="59" name="Oval 58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solidFill>
              <a:srgbClr val="464646"/>
            </a:solidFill>
            <a:ln w="19050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338" y="2537821"/>
              <a:ext cx="716784" cy="716784"/>
            </a:xfrm>
            <a:prstGeom prst="rect">
              <a:avLst/>
            </a:prstGeom>
          </p:spPr>
        </p:pic>
      </p:grpSp>
      <p:grpSp>
        <p:nvGrpSpPr>
          <p:cNvPr id="61" name="Group 60"/>
          <p:cNvGrpSpPr/>
          <p:nvPr userDrawn="1"/>
        </p:nvGrpSpPr>
        <p:grpSpPr>
          <a:xfrm>
            <a:off x="2525299" y="1779523"/>
            <a:ext cx="1426464" cy="1426464"/>
            <a:chOff x="162973" y="2163931"/>
            <a:chExt cx="1426464" cy="1426464"/>
          </a:xfrm>
        </p:grpSpPr>
        <p:sp>
          <p:nvSpPr>
            <p:cNvPr id="62" name="Oval 61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solidFill>
              <a:srgbClr val="464646"/>
            </a:solidFill>
            <a:ln w="19050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9005" y="2436618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8835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Safe C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2262" y="1465513"/>
            <a:ext cx="9160310" cy="3966737"/>
            <a:chOff x="-2262" y="1465513"/>
            <a:chExt cx="9160310" cy="3966737"/>
          </a:xfrm>
        </p:grpSpPr>
        <p:sp>
          <p:nvSpPr>
            <p:cNvPr id="20" name="Rectangle 19"/>
            <p:cNvSpPr/>
            <p:nvPr userDrawn="1"/>
          </p:nvSpPr>
          <p:spPr>
            <a:xfrm>
              <a:off x="3104965" y="1465513"/>
              <a:ext cx="5472190" cy="3962540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8623300" y="1465513"/>
              <a:ext cx="534748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-2262" y="1465514"/>
              <a:ext cx="180032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219556" y="1465513"/>
              <a:ext cx="2840336" cy="3966737"/>
            </a:xfrm>
            <a:prstGeom prst="rect">
              <a:avLst/>
            </a:prstGeom>
            <a:blipFill dpi="0" rotWithShape="1">
              <a:blip r:embed="rId2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2"/>
          <p:cNvSpPr>
            <a:spLocks noGrp="1"/>
          </p:cNvSpPr>
          <p:nvPr userDrawn="1">
            <p:ph type="body" idx="13"/>
          </p:nvPr>
        </p:nvSpPr>
        <p:spPr>
          <a:xfrm>
            <a:off x="3579138" y="2084077"/>
            <a:ext cx="4724400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Clr>
                <a:schemeClr val="bg1"/>
              </a:buClr>
              <a:buFont typeface="Arial" pitchFamily="34" charset="0"/>
              <a:buNone/>
            </a:pPr>
            <a:r>
              <a:rPr lang="en-US" dirty="0" smtClean="0"/>
              <a:t>Click to edit</a:t>
            </a:r>
          </a:p>
        </p:txBody>
      </p:sp>
      <p:sp>
        <p:nvSpPr>
          <p:cNvPr id="45" name="Content Placeholder 3"/>
          <p:cNvSpPr>
            <a:spLocks noGrp="1"/>
          </p:cNvSpPr>
          <p:nvPr userDrawn="1">
            <p:ph sz="half" idx="14"/>
          </p:nvPr>
        </p:nvSpPr>
        <p:spPr>
          <a:xfrm>
            <a:off x="3579138" y="2753738"/>
            <a:ext cx="4724400" cy="1254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Clr>
                <a:srgbClr val="C00000"/>
              </a:buClr>
              <a:buFont typeface="Arial" pitchFamily="34" charset="0"/>
              <a:buNone/>
              <a:defRPr lang="en-US" sz="1800" b="0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2pPr>
            <a:lvl3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3pPr>
            <a:lvl4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4pPr>
            <a:lvl5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6353568"/>
            <a:ext cx="9144000" cy="5044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dirty="0"/>
              <a:t> </a:t>
            </a:r>
          </a:p>
        </p:txBody>
      </p:sp>
      <p:pic>
        <p:nvPicPr>
          <p:cNvPr id="28" name="Grafik 8" descr="Logo_AGT_rgb_1mm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6421402"/>
            <a:ext cx="1295400" cy="326470"/>
          </a:xfrm>
          <a:prstGeom prst="rect">
            <a:avLst/>
          </a:prstGeom>
        </p:spPr>
      </p:pic>
      <p:sp>
        <p:nvSpPr>
          <p:cNvPr id="26" name="Rectangle 26"/>
          <p:cNvSpPr>
            <a:spLocks noChangeArrowheads="1"/>
          </p:cNvSpPr>
          <p:nvPr userDrawn="1"/>
        </p:nvSpPr>
        <p:spPr bwMode="black">
          <a:xfrm>
            <a:off x="8229600" y="6416040"/>
            <a:ext cx="457200" cy="36576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/>
          <a:p>
            <a:pPr marL="0" algn="r" defTabSz="914400" rtl="0" eaLnBrk="1" latinLnBrk="0" hangingPunct="1">
              <a:spcBef>
                <a:spcPct val="0"/>
              </a:spcBef>
              <a:tabLst>
                <a:tab pos="461963" algn="l"/>
                <a:tab pos="4572000" algn="ctr"/>
                <a:tab pos="8461375" algn="r"/>
                <a:tab pos="8855075" algn="r"/>
              </a:tabLst>
              <a:defRPr/>
            </a:pPr>
            <a:fld id="{E46DE64C-7D15-458B-8CF1-EEE6A14FF4AB}" type="slidenum">
              <a:rPr lang="en-US" sz="10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pPr marL="0" algn="r" defTabSz="914400" rtl="0" eaLnBrk="1" latinLnBrk="0" hangingPunct="1">
                <a:spcBef>
                  <a:spcPct val="0"/>
                </a:spcBef>
                <a:tabLst>
                  <a:tab pos="461963" algn="l"/>
                  <a:tab pos="4572000" algn="ctr"/>
                  <a:tab pos="8461375" algn="r"/>
                  <a:tab pos="8855075" algn="r"/>
                </a:tabLst>
                <a:defRPr/>
              </a:pPr>
              <a:t>‹#›</a:t>
            </a:fld>
            <a:endParaRPr lang="en-US" sz="1000" kern="1200">
              <a:solidFill>
                <a:schemeClr val="bg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5361788" y="4201527"/>
            <a:ext cx="713232" cy="713232"/>
            <a:chOff x="162973" y="2163931"/>
            <a:chExt cx="1426464" cy="1426464"/>
          </a:xfrm>
        </p:grpSpPr>
        <p:sp>
          <p:nvSpPr>
            <p:cNvPr id="35" name="Oval 34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noFill/>
            <a:ln w="15875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339" y="2537821"/>
              <a:ext cx="716784" cy="716784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 userDrawn="1"/>
        </p:nvGrpSpPr>
        <p:grpSpPr>
          <a:xfrm>
            <a:off x="3569744" y="4201527"/>
            <a:ext cx="713232" cy="713232"/>
            <a:chOff x="162973" y="2163931"/>
            <a:chExt cx="1426464" cy="1426464"/>
          </a:xfrm>
        </p:grpSpPr>
        <p:sp>
          <p:nvSpPr>
            <p:cNvPr id="46" name="Oval 45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solidFill>
              <a:srgbClr val="464646"/>
            </a:solidFill>
            <a:ln w="15875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355" y="2475177"/>
              <a:ext cx="785700" cy="803973"/>
            </a:xfrm>
            <a:prstGeom prst="rect">
              <a:avLst/>
            </a:prstGeom>
          </p:spPr>
        </p:pic>
      </p:grpSp>
      <p:grpSp>
        <p:nvGrpSpPr>
          <p:cNvPr id="51" name="Group 50"/>
          <p:cNvGrpSpPr/>
          <p:nvPr userDrawn="1"/>
        </p:nvGrpSpPr>
        <p:grpSpPr>
          <a:xfrm>
            <a:off x="4465766" y="4201527"/>
            <a:ext cx="713232" cy="713232"/>
            <a:chOff x="162973" y="2163931"/>
            <a:chExt cx="1426464" cy="1426464"/>
          </a:xfrm>
        </p:grpSpPr>
        <p:sp>
          <p:nvSpPr>
            <p:cNvPr id="52" name="Oval 51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noFill/>
            <a:ln w="15875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593" y="244725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9331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Safe Wor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0" y="1465513"/>
            <a:ext cx="9158048" cy="3964567"/>
            <a:chOff x="0" y="1465513"/>
            <a:chExt cx="9158048" cy="3964567"/>
          </a:xfrm>
        </p:grpSpPr>
        <p:sp>
          <p:nvSpPr>
            <p:cNvPr id="30" name="Rectangle 29"/>
            <p:cNvSpPr/>
            <p:nvPr userDrawn="1"/>
          </p:nvSpPr>
          <p:spPr>
            <a:xfrm>
              <a:off x="3104965" y="1465513"/>
              <a:ext cx="5472190" cy="3962540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8623300" y="1465513"/>
              <a:ext cx="534748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0" y="1465514"/>
              <a:ext cx="177770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727" y="1465513"/>
              <a:ext cx="2842458" cy="3964567"/>
            </a:xfrm>
            <a:prstGeom prst="rect">
              <a:avLst/>
            </a:prstGeom>
          </p:spPr>
        </p:pic>
      </p:grpSp>
      <p:sp>
        <p:nvSpPr>
          <p:cNvPr id="28" name="Text Placeholder 2"/>
          <p:cNvSpPr>
            <a:spLocks noGrp="1"/>
          </p:cNvSpPr>
          <p:nvPr>
            <p:ph type="body" idx="13"/>
          </p:nvPr>
        </p:nvSpPr>
        <p:spPr>
          <a:xfrm>
            <a:off x="3579138" y="2083824"/>
            <a:ext cx="4724400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14"/>
          </p:nvPr>
        </p:nvSpPr>
        <p:spPr>
          <a:xfrm>
            <a:off x="3579138" y="2753485"/>
            <a:ext cx="4724400" cy="1254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Clr>
                <a:srgbClr val="C00000"/>
              </a:buClr>
              <a:buFont typeface="Arial" pitchFamily="34" charset="0"/>
              <a:buNone/>
              <a:defRPr lang="en-US" sz="1800" b="0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2pPr>
            <a:lvl3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3pPr>
            <a:lvl4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4pPr>
            <a:lvl5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0" y="6353568"/>
            <a:ext cx="9144000" cy="5044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dirty="0"/>
              <a:t> </a:t>
            </a:r>
          </a:p>
        </p:txBody>
      </p:sp>
      <p:pic>
        <p:nvPicPr>
          <p:cNvPr id="24" name="Grafik 8" descr="Logo_AGT_rgb_1mm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6421402"/>
            <a:ext cx="1295400" cy="326470"/>
          </a:xfrm>
          <a:prstGeom prst="rect">
            <a:avLst/>
          </a:prstGeom>
        </p:spPr>
      </p:pic>
      <p:sp>
        <p:nvSpPr>
          <p:cNvPr id="14" name="Rectangle 26"/>
          <p:cNvSpPr>
            <a:spLocks noChangeArrowheads="1"/>
          </p:cNvSpPr>
          <p:nvPr userDrawn="1"/>
        </p:nvSpPr>
        <p:spPr bwMode="black">
          <a:xfrm>
            <a:off x="8229600" y="6416040"/>
            <a:ext cx="457200" cy="36576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/>
          <a:p>
            <a:pPr marL="0" algn="r" defTabSz="914400" rtl="0" eaLnBrk="1" latinLnBrk="0" hangingPunct="1">
              <a:spcBef>
                <a:spcPct val="0"/>
              </a:spcBef>
              <a:tabLst>
                <a:tab pos="461963" algn="l"/>
                <a:tab pos="4572000" algn="ctr"/>
                <a:tab pos="8461375" algn="r"/>
                <a:tab pos="8855075" algn="r"/>
              </a:tabLst>
              <a:defRPr/>
            </a:pPr>
            <a:fld id="{E46DE64C-7D15-458B-8CF1-EEE6A14FF4AB}" type="slidenum">
              <a:rPr lang="en-US" sz="10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pPr marL="0" algn="r" defTabSz="914400" rtl="0" eaLnBrk="1" latinLnBrk="0" hangingPunct="1">
                <a:spcBef>
                  <a:spcPct val="0"/>
                </a:spcBef>
                <a:tabLst>
                  <a:tab pos="461963" algn="l"/>
                  <a:tab pos="4572000" algn="ctr"/>
                  <a:tab pos="8461375" algn="r"/>
                  <a:tab pos="8855075" algn="r"/>
                </a:tabLst>
                <a:defRPr/>
              </a:pPr>
              <a:t>‹#›</a:t>
            </a:fld>
            <a:endParaRPr lang="en-US" sz="1000" kern="1200">
              <a:solidFill>
                <a:schemeClr val="bg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3569744" y="4201527"/>
            <a:ext cx="713232" cy="713232"/>
            <a:chOff x="162973" y="2163931"/>
            <a:chExt cx="1426464" cy="1426464"/>
          </a:xfrm>
        </p:grpSpPr>
        <p:sp>
          <p:nvSpPr>
            <p:cNvPr id="45" name="Oval 44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noFill/>
            <a:ln w="15875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355" y="2484313"/>
              <a:ext cx="785700" cy="785700"/>
            </a:xfrm>
            <a:prstGeom prst="rect">
              <a:avLst/>
            </a:prstGeom>
          </p:spPr>
        </p:pic>
      </p:grpSp>
      <p:grpSp>
        <p:nvGrpSpPr>
          <p:cNvPr id="47" name="Group 46"/>
          <p:cNvGrpSpPr/>
          <p:nvPr userDrawn="1"/>
        </p:nvGrpSpPr>
        <p:grpSpPr>
          <a:xfrm>
            <a:off x="5361788" y="4201527"/>
            <a:ext cx="713232" cy="713232"/>
            <a:chOff x="162973" y="2163931"/>
            <a:chExt cx="1426464" cy="1426464"/>
          </a:xfrm>
        </p:grpSpPr>
        <p:sp>
          <p:nvSpPr>
            <p:cNvPr id="48" name="Oval 47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noFill/>
            <a:ln w="15875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339" y="2537821"/>
              <a:ext cx="716784" cy="716784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 userDrawn="1"/>
        </p:nvGrpSpPr>
        <p:grpSpPr>
          <a:xfrm>
            <a:off x="4465766" y="4201527"/>
            <a:ext cx="713232" cy="713232"/>
            <a:chOff x="162973" y="2163931"/>
            <a:chExt cx="1426464" cy="1426464"/>
          </a:xfrm>
        </p:grpSpPr>
        <p:sp>
          <p:nvSpPr>
            <p:cNvPr id="51" name="Oval 50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solidFill>
              <a:srgbClr val="464646"/>
            </a:solidFill>
            <a:ln w="15875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593" y="244725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4936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Water 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2262" y="1465513"/>
            <a:ext cx="9160310" cy="3962541"/>
            <a:chOff x="-2262" y="1465513"/>
            <a:chExt cx="9160310" cy="3962541"/>
          </a:xfrm>
        </p:grpSpPr>
        <p:sp>
          <p:nvSpPr>
            <p:cNvPr id="29" name="Rectangle 28"/>
            <p:cNvSpPr/>
            <p:nvPr userDrawn="1"/>
          </p:nvSpPr>
          <p:spPr>
            <a:xfrm>
              <a:off x="3104965" y="1465513"/>
              <a:ext cx="5472190" cy="3962540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8623300" y="1465513"/>
              <a:ext cx="534748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-2262" y="1465514"/>
              <a:ext cx="180032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/>
            <p:cNvSpPr/>
            <p:nvPr userDrawn="1"/>
          </p:nvSpPr>
          <p:spPr>
            <a:xfrm flipH="1">
              <a:off x="219556" y="1465514"/>
              <a:ext cx="2840336" cy="3962540"/>
            </a:xfrm>
            <a:prstGeom prst="rect">
              <a:avLst/>
            </a:prstGeom>
            <a:blipFill dpi="0" rotWithShape="1">
              <a:blip r:embed="rId2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3579138" y="2083824"/>
            <a:ext cx="4724400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14"/>
          </p:nvPr>
        </p:nvSpPr>
        <p:spPr>
          <a:xfrm>
            <a:off x="3579138" y="2753485"/>
            <a:ext cx="4724400" cy="1254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Clr>
                <a:srgbClr val="C00000"/>
              </a:buClr>
              <a:buFont typeface="Arial" pitchFamily="34" charset="0"/>
              <a:buNone/>
              <a:defRPr lang="en-US" sz="1800" b="0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2pPr>
            <a:lvl3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3pPr>
            <a:lvl4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4pPr>
            <a:lvl5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0" y="6353568"/>
            <a:ext cx="9144000" cy="5044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dirty="0"/>
              <a:t> </a:t>
            </a:r>
          </a:p>
        </p:txBody>
      </p:sp>
      <p:pic>
        <p:nvPicPr>
          <p:cNvPr id="24" name="Grafik 8" descr="Logo_AGT_rgb_1mm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6421402"/>
            <a:ext cx="1295400" cy="326470"/>
          </a:xfrm>
          <a:prstGeom prst="rect">
            <a:avLst/>
          </a:prstGeom>
        </p:spPr>
      </p:pic>
      <p:sp>
        <p:nvSpPr>
          <p:cNvPr id="15" name="Rectangle 26"/>
          <p:cNvSpPr>
            <a:spLocks noChangeArrowheads="1"/>
          </p:cNvSpPr>
          <p:nvPr userDrawn="1"/>
        </p:nvSpPr>
        <p:spPr bwMode="black">
          <a:xfrm>
            <a:off x="8229600" y="6416040"/>
            <a:ext cx="457200" cy="36576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/>
          <a:p>
            <a:pPr marL="0" algn="r" defTabSz="914400" rtl="0" eaLnBrk="1" latinLnBrk="0" hangingPunct="1">
              <a:spcBef>
                <a:spcPct val="0"/>
              </a:spcBef>
              <a:tabLst>
                <a:tab pos="461963" algn="l"/>
                <a:tab pos="4572000" algn="ctr"/>
                <a:tab pos="8461375" algn="r"/>
                <a:tab pos="8855075" algn="r"/>
              </a:tabLst>
              <a:defRPr/>
            </a:pPr>
            <a:fld id="{E46DE64C-7D15-458B-8CF1-EEE6A14FF4AB}" type="slidenum">
              <a:rPr lang="en-US" sz="10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pPr marL="0" algn="r" defTabSz="914400" rtl="0" eaLnBrk="1" latinLnBrk="0" hangingPunct="1">
                <a:spcBef>
                  <a:spcPct val="0"/>
                </a:spcBef>
                <a:tabLst>
                  <a:tab pos="461963" algn="l"/>
                  <a:tab pos="4572000" algn="ctr"/>
                  <a:tab pos="8461375" algn="r"/>
                  <a:tab pos="8855075" algn="r"/>
                </a:tabLst>
                <a:defRPr/>
              </a:pPr>
              <a:t>‹#›</a:t>
            </a:fld>
            <a:endParaRPr lang="en-US" sz="1000" kern="1200">
              <a:solidFill>
                <a:schemeClr val="bg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5361788" y="4201527"/>
            <a:ext cx="713232" cy="713232"/>
            <a:chOff x="162973" y="2163931"/>
            <a:chExt cx="1426464" cy="1426464"/>
          </a:xfrm>
        </p:grpSpPr>
        <p:sp>
          <p:nvSpPr>
            <p:cNvPr id="27" name="Oval 26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solidFill>
              <a:srgbClr val="464646"/>
            </a:solidFill>
            <a:ln w="15875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338" y="2537821"/>
              <a:ext cx="716784" cy="716784"/>
            </a:xfrm>
            <a:prstGeom prst="rect">
              <a:avLst/>
            </a:prstGeom>
          </p:spPr>
        </p:pic>
      </p:grpSp>
      <p:grpSp>
        <p:nvGrpSpPr>
          <p:cNvPr id="36" name="Group 35"/>
          <p:cNvGrpSpPr/>
          <p:nvPr userDrawn="1"/>
        </p:nvGrpSpPr>
        <p:grpSpPr>
          <a:xfrm>
            <a:off x="3569744" y="4201527"/>
            <a:ext cx="713232" cy="713232"/>
            <a:chOff x="162973" y="2163931"/>
            <a:chExt cx="1426464" cy="1426464"/>
          </a:xfrm>
        </p:grpSpPr>
        <p:sp>
          <p:nvSpPr>
            <p:cNvPr id="37" name="Oval 36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noFill/>
            <a:ln w="15875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355" y="2484313"/>
              <a:ext cx="785700" cy="785700"/>
            </a:xfrm>
            <a:prstGeom prst="rect">
              <a:avLst/>
            </a:prstGeom>
          </p:spPr>
        </p:pic>
      </p:grpSp>
      <p:grpSp>
        <p:nvGrpSpPr>
          <p:cNvPr id="42" name="Group 41"/>
          <p:cNvGrpSpPr/>
          <p:nvPr userDrawn="1"/>
        </p:nvGrpSpPr>
        <p:grpSpPr>
          <a:xfrm>
            <a:off x="4465766" y="4201527"/>
            <a:ext cx="713232" cy="713232"/>
            <a:chOff x="162973" y="2163931"/>
            <a:chExt cx="1426464" cy="1426464"/>
          </a:xfrm>
        </p:grpSpPr>
        <p:sp>
          <p:nvSpPr>
            <p:cNvPr id="43" name="Oval 42"/>
            <p:cNvSpPr/>
            <p:nvPr/>
          </p:nvSpPr>
          <p:spPr>
            <a:xfrm>
              <a:off x="162973" y="2163931"/>
              <a:ext cx="1426464" cy="1426464"/>
            </a:xfrm>
            <a:prstGeom prst="ellipse">
              <a:avLst/>
            </a:prstGeom>
            <a:noFill/>
            <a:ln w="15875">
              <a:solidFill>
                <a:srgbClr val="EFE9E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593" y="244725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4470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0" y="1465513"/>
            <a:ext cx="9158048" cy="3962541"/>
            <a:chOff x="0" y="1465513"/>
            <a:chExt cx="9158048" cy="3962541"/>
          </a:xfrm>
        </p:grpSpPr>
        <p:sp>
          <p:nvSpPr>
            <p:cNvPr id="22" name="Rectangle 21"/>
            <p:cNvSpPr/>
            <p:nvPr userDrawn="1"/>
          </p:nvSpPr>
          <p:spPr>
            <a:xfrm>
              <a:off x="3104965" y="1465513"/>
              <a:ext cx="5472190" cy="3962540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8623300" y="1465513"/>
              <a:ext cx="534748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1465514"/>
              <a:ext cx="177770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225426" y="1465513"/>
            <a:ext cx="2832099" cy="39625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0" y="6353568"/>
            <a:ext cx="9144000" cy="5044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dirty="0"/>
              <a:t> </a:t>
            </a:r>
          </a:p>
        </p:txBody>
      </p:sp>
      <p:pic>
        <p:nvPicPr>
          <p:cNvPr id="17" name="Grafik 8" descr="Logo_AGT_rgb_1mm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6421402"/>
            <a:ext cx="1295400" cy="326470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idx="13"/>
          </p:nvPr>
        </p:nvSpPr>
        <p:spPr>
          <a:xfrm>
            <a:off x="3579138" y="2885052"/>
            <a:ext cx="4724400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3579138" y="3554713"/>
            <a:ext cx="4724400" cy="1254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Clr>
                <a:srgbClr val="C00000"/>
              </a:buClr>
              <a:buFont typeface="Arial" pitchFamily="34" charset="0"/>
              <a:buNone/>
              <a:defRPr lang="en-US" sz="1800" b="0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2pPr>
            <a:lvl3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3pPr>
            <a:lvl4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4pPr>
            <a:lvl5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Rectangle 26"/>
          <p:cNvSpPr>
            <a:spLocks noChangeArrowheads="1"/>
          </p:cNvSpPr>
          <p:nvPr userDrawn="1"/>
        </p:nvSpPr>
        <p:spPr bwMode="black">
          <a:xfrm>
            <a:off x="8229600" y="6416040"/>
            <a:ext cx="457200" cy="36576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/>
          <a:p>
            <a:pPr marL="0" algn="r" defTabSz="914400" rtl="0" eaLnBrk="1" latinLnBrk="0" hangingPunct="1">
              <a:spcBef>
                <a:spcPct val="0"/>
              </a:spcBef>
              <a:tabLst>
                <a:tab pos="461963" algn="l"/>
                <a:tab pos="4572000" algn="ctr"/>
                <a:tab pos="8461375" algn="r"/>
                <a:tab pos="8855075" algn="r"/>
              </a:tabLst>
              <a:defRPr/>
            </a:pPr>
            <a:fld id="{E46DE64C-7D15-458B-8CF1-EEE6A14FF4AB}" type="slidenum">
              <a:rPr lang="en-US" sz="10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pPr marL="0" algn="r" defTabSz="914400" rtl="0" eaLnBrk="1" latinLnBrk="0" hangingPunct="1">
                <a:spcBef>
                  <a:spcPct val="0"/>
                </a:spcBef>
                <a:tabLst>
                  <a:tab pos="461963" algn="l"/>
                  <a:tab pos="4572000" algn="ctr"/>
                  <a:tab pos="8461375" algn="r"/>
                  <a:tab pos="8855075" algn="r"/>
                </a:tabLst>
                <a:defRPr/>
              </a:pPr>
              <a:t>‹#›</a:t>
            </a:fld>
            <a:endParaRPr lang="en-US" sz="1000" kern="1200">
              <a:solidFill>
                <a:schemeClr val="bg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667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2262" y="1465513"/>
            <a:ext cx="9160310" cy="3962541"/>
            <a:chOff x="-2262" y="1465513"/>
            <a:chExt cx="9160310" cy="3962541"/>
          </a:xfrm>
        </p:grpSpPr>
        <p:sp>
          <p:nvSpPr>
            <p:cNvPr id="16" name="Rectangle 15"/>
            <p:cNvSpPr/>
            <p:nvPr userDrawn="1"/>
          </p:nvSpPr>
          <p:spPr>
            <a:xfrm>
              <a:off x="224028" y="1465513"/>
              <a:ext cx="8353127" cy="3962540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8623300" y="1465513"/>
              <a:ext cx="534748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-2262" y="1465514"/>
              <a:ext cx="180032" cy="3962540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Rectangle 16"/>
          <p:cNvSpPr/>
          <p:nvPr userDrawn="1"/>
        </p:nvSpPr>
        <p:spPr>
          <a:xfrm>
            <a:off x="0" y="6353568"/>
            <a:ext cx="9144000" cy="5044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dirty="0"/>
              <a:t> </a:t>
            </a:r>
          </a:p>
        </p:txBody>
      </p:sp>
      <p:pic>
        <p:nvPicPr>
          <p:cNvPr id="18" name="Grafik 8" descr="Logo_AGT_rgb_1mm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6421402"/>
            <a:ext cx="1295400" cy="326470"/>
          </a:xfrm>
          <a:prstGeom prst="rect">
            <a:avLst/>
          </a:prstGeom>
        </p:spPr>
      </p:pic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533400" y="2885052"/>
            <a:ext cx="7770138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lang="en-US" sz="2400" b="1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4"/>
          </p:nvPr>
        </p:nvSpPr>
        <p:spPr>
          <a:xfrm>
            <a:off x="533400" y="3554713"/>
            <a:ext cx="7770138" cy="1254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Clr>
                <a:srgbClr val="C00000"/>
              </a:buClr>
              <a:buFont typeface="Arial" pitchFamily="34" charset="0"/>
              <a:buNone/>
              <a:defRPr lang="en-US" sz="1800" b="0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2pPr>
            <a:lvl3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3pPr>
            <a:lvl4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4pPr>
            <a:lvl5pPr marL="0" indent="0">
              <a:buClr>
                <a:srgbClr val="C00000"/>
              </a:buClr>
              <a:buFontTx/>
              <a:buNone/>
              <a:defRPr sz="1600" b="0">
                <a:solidFill>
                  <a:schemeClr val="tx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Rectangle 26"/>
          <p:cNvSpPr>
            <a:spLocks noChangeArrowheads="1"/>
          </p:cNvSpPr>
          <p:nvPr userDrawn="1"/>
        </p:nvSpPr>
        <p:spPr bwMode="black">
          <a:xfrm>
            <a:off x="8229600" y="6416040"/>
            <a:ext cx="457200" cy="36576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/>
          <a:p>
            <a:pPr marL="0" algn="r" defTabSz="914400" rtl="0" eaLnBrk="1" latinLnBrk="0" hangingPunct="1">
              <a:spcBef>
                <a:spcPct val="0"/>
              </a:spcBef>
              <a:tabLst>
                <a:tab pos="461963" algn="l"/>
                <a:tab pos="4572000" algn="ctr"/>
                <a:tab pos="8461375" algn="r"/>
                <a:tab pos="8855075" algn="r"/>
              </a:tabLst>
              <a:defRPr/>
            </a:pPr>
            <a:fld id="{E46DE64C-7D15-458B-8CF1-EEE6A14FF4AB}" type="slidenum">
              <a:rPr lang="en-US" sz="10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pPr marL="0" algn="r" defTabSz="914400" rtl="0" eaLnBrk="1" latinLnBrk="0" hangingPunct="1">
                <a:spcBef>
                  <a:spcPct val="0"/>
                </a:spcBef>
                <a:tabLst>
                  <a:tab pos="461963" algn="l"/>
                  <a:tab pos="4572000" algn="ctr"/>
                  <a:tab pos="8461375" algn="r"/>
                  <a:tab pos="8855075" algn="r"/>
                </a:tabLst>
                <a:defRPr/>
              </a:pPr>
              <a:t>‹#›</a:t>
            </a:fld>
            <a:endParaRPr lang="en-US" sz="1000" kern="1200">
              <a:solidFill>
                <a:schemeClr val="bg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7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images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31013" y="1774041"/>
            <a:ext cx="1910952" cy="152325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lang="en-US" dirty="0"/>
            </a:lvl1pPr>
          </a:lstStyle>
          <a:p>
            <a:endParaRPr lang="en-US" dirty="0"/>
          </a:p>
        </p:txBody>
      </p:sp>
      <p:sp>
        <p:nvSpPr>
          <p:cNvPr id="84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256264" y="1774834"/>
            <a:ext cx="1910952" cy="152325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Char char="•"/>
              <a:defRPr lang="en-US" sz="1800" b="1" kern="1200" dirty="0">
                <a:solidFill>
                  <a:srgbClr val="ED1933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0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277945" y="1777215"/>
            <a:ext cx="1910952" cy="152325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Char char="•"/>
              <a:defRPr lang="en-US" sz="1800" b="1" kern="1200" dirty="0">
                <a:solidFill>
                  <a:srgbClr val="ED1933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96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298327" y="1778755"/>
            <a:ext cx="1910952" cy="152325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Char char="•"/>
              <a:defRPr lang="en-US" sz="1800" b="1" kern="1200" dirty="0">
                <a:solidFill>
                  <a:srgbClr val="ED1933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231012" y="3820319"/>
            <a:ext cx="1910952" cy="152325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Char char="•"/>
              <a:defRPr lang="en-US" sz="1800" b="1" kern="1200" dirty="0">
                <a:solidFill>
                  <a:srgbClr val="ED1933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17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2256263" y="3821112"/>
            <a:ext cx="1910952" cy="152325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Char char="•"/>
              <a:defRPr lang="en-US" sz="1800" b="1" kern="1200" dirty="0">
                <a:solidFill>
                  <a:srgbClr val="ED1933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20" name="Picture Placeholder 3"/>
          <p:cNvSpPr>
            <a:spLocks noGrp="1"/>
          </p:cNvSpPr>
          <p:nvPr>
            <p:ph type="pic" sz="quarter" idx="45"/>
          </p:nvPr>
        </p:nvSpPr>
        <p:spPr>
          <a:xfrm>
            <a:off x="4277944" y="3823493"/>
            <a:ext cx="1910952" cy="152325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Char char="•"/>
              <a:defRPr lang="en-US" sz="1800" b="1" kern="1200" dirty="0">
                <a:solidFill>
                  <a:srgbClr val="ED1933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23" name="Picture Placeholder 3"/>
          <p:cNvSpPr>
            <a:spLocks noGrp="1"/>
          </p:cNvSpPr>
          <p:nvPr>
            <p:ph type="pic" sz="quarter" idx="47"/>
          </p:nvPr>
        </p:nvSpPr>
        <p:spPr>
          <a:xfrm>
            <a:off x="6298326" y="3825033"/>
            <a:ext cx="1910952" cy="152325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itchFamily="34" charset="0"/>
              <a:buChar char="•"/>
              <a:defRPr lang="en-US" sz="1800" b="1" kern="1200" dirty="0">
                <a:solidFill>
                  <a:srgbClr val="ED1933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>
            <a:off x="0" y="1769493"/>
            <a:ext cx="180031" cy="358627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64" hasCustomPrompt="1"/>
          </p:nvPr>
        </p:nvSpPr>
        <p:spPr>
          <a:xfrm>
            <a:off x="228600" y="3364451"/>
            <a:ext cx="1905000" cy="44554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200" b="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Lucida Grande"/>
              <a:buNone/>
            </a:pPr>
            <a:r>
              <a:rPr lang="en-GB" dirty="0" smtClean="0"/>
              <a:t>Caption</a:t>
            </a:r>
            <a:endParaRPr lang="en-US" dirty="0"/>
          </a:p>
        </p:txBody>
      </p:sp>
      <p:sp>
        <p:nvSpPr>
          <p:cNvPr id="45" name="Text Placeholder 9"/>
          <p:cNvSpPr>
            <a:spLocks noGrp="1"/>
          </p:cNvSpPr>
          <p:nvPr>
            <p:ph type="body" sz="quarter" idx="65" hasCustomPrompt="1"/>
          </p:nvPr>
        </p:nvSpPr>
        <p:spPr>
          <a:xfrm>
            <a:off x="2262696" y="3364451"/>
            <a:ext cx="1905000" cy="44554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200" b="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Lucida Grande"/>
              <a:buNone/>
            </a:pPr>
            <a:r>
              <a:rPr lang="en-GB" dirty="0" smtClean="0"/>
              <a:t>Caption</a:t>
            </a:r>
            <a:endParaRPr lang="en-US" dirty="0"/>
          </a:p>
        </p:txBody>
      </p:sp>
      <p:sp>
        <p:nvSpPr>
          <p:cNvPr id="47" name="Text Placeholder 9"/>
          <p:cNvSpPr>
            <a:spLocks noGrp="1"/>
          </p:cNvSpPr>
          <p:nvPr>
            <p:ph type="body" sz="quarter" idx="66" hasCustomPrompt="1"/>
          </p:nvPr>
        </p:nvSpPr>
        <p:spPr>
          <a:xfrm>
            <a:off x="4278852" y="3364451"/>
            <a:ext cx="1905000" cy="44554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200" b="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Lucida Grande"/>
              <a:buNone/>
            </a:pPr>
            <a:r>
              <a:rPr lang="en-GB" dirty="0" smtClean="0"/>
              <a:t>Caption</a:t>
            </a:r>
            <a:endParaRPr lang="en-US" dirty="0"/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67" hasCustomPrompt="1"/>
          </p:nvPr>
        </p:nvSpPr>
        <p:spPr>
          <a:xfrm>
            <a:off x="6301296" y="3364451"/>
            <a:ext cx="1905000" cy="44554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200" b="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Lucida Grande"/>
              <a:buNone/>
            </a:pPr>
            <a:r>
              <a:rPr lang="en-GB" dirty="0" smtClean="0"/>
              <a:t>Caption</a:t>
            </a:r>
            <a:endParaRPr lang="en-US" dirty="0"/>
          </a:p>
        </p:txBody>
      </p:sp>
      <p:sp>
        <p:nvSpPr>
          <p:cNvPr id="49" name="Text Placeholder 9"/>
          <p:cNvSpPr>
            <a:spLocks noGrp="1"/>
          </p:cNvSpPr>
          <p:nvPr>
            <p:ph type="body" sz="quarter" idx="68" hasCustomPrompt="1"/>
          </p:nvPr>
        </p:nvSpPr>
        <p:spPr>
          <a:xfrm>
            <a:off x="228600" y="5410200"/>
            <a:ext cx="1905000" cy="445549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rgbClr val="464646"/>
                </a:solidFill>
              </a:defRPr>
            </a:lvl1pPr>
          </a:lstStyle>
          <a:p>
            <a:pPr lvl="0"/>
            <a:r>
              <a:rPr lang="en-GB" dirty="0" smtClean="0"/>
              <a:t>Caption</a:t>
            </a:r>
            <a:endParaRPr lang="en-US" dirty="0"/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69" hasCustomPrompt="1"/>
          </p:nvPr>
        </p:nvSpPr>
        <p:spPr>
          <a:xfrm>
            <a:off x="2262696" y="5410200"/>
            <a:ext cx="1905000" cy="44554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200" b="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Lucida Grande"/>
              <a:buNone/>
            </a:pPr>
            <a:r>
              <a:rPr lang="en-GB" dirty="0" smtClean="0"/>
              <a:t>Caption</a:t>
            </a:r>
            <a:endParaRPr lang="en-US" dirty="0"/>
          </a:p>
        </p:txBody>
      </p:sp>
      <p:sp>
        <p:nvSpPr>
          <p:cNvPr id="51" name="Text Placeholder 9"/>
          <p:cNvSpPr>
            <a:spLocks noGrp="1"/>
          </p:cNvSpPr>
          <p:nvPr>
            <p:ph type="body" sz="quarter" idx="70" hasCustomPrompt="1"/>
          </p:nvPr>
        </p:nvSpPr>
        <p:spPr>
          <a:xfrm>
            <a:off x="4278852" y="5410200"/>
            <a:ext cx="1905000" cy="44554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200" b="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Lucida Grande"/>
              <a:buNone/>
            </a:pPr>
            <a:r>
              <a:rPr lang="en-GB" dirty="0" smtClean="0"/>
              <a:t>Caption</a:t>
            </a:r>
            <a:endParaRPr lang="en-US" dirty="0"/>
          </a:p>
        </p:txBody>
      </p:sp>
      <p:sp>
        <p:nvSpPr>
          <p:cNvPr id="52" name="Text Placeholder 9"/>
          <p:cNvSpPr>
            <a:spLocks noGrp="1"/>
          </p:cNvSpPr>
          <p:nvPr>
            <p:ph type="body" sz="quarter" idx="71" hasCustomPrompt="1"/>
          </p:nvPr>
        </p:nvSpPr>
        <p:spPr>
          <a:xfrm>
            <a:off x="6301296" y="5410200"/>
            <a:ext cx="1905000" cy="44554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200" b="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Lucida Grande"/>
              <a:buNone/>
            </a:pPr>
            <a:r>
              <a:rPr lang="en-GB" dirty="0" smtClean="0"/>
              <a:t>Caption</a:t>
            </a:r>
            <a:endParaRPr lang="en-US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264028" y="1769493"/>
            <a:ext cx="879972" cy="3589907"/>
          </a:xfrm>
          <a:prstGeom prst="rect">
            <a:avLst/>
          </a:prstGeom>
          <a:solidFill>
            <a:srgbClr val="ED1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789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 Placeholder 8"/>
          <p:cNvSpPr>
            <a:spLocks noGrp="1"/>
          </p:cNvSpPr>
          <p:nvPr>
            <p:ph type="chart" sz="quarter" idx="10"/>
          </p:nvPr>
        </p:nvSpPr>
        <p:spPr>
          <a:xfrm>
            <a:off x="450665" y="1567542"/>
            <a:ext cx="8153400" cy="46808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66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457200" y="1561273"/>
            <a:ext cx="8153400" cy="4495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864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Fram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4824" y="1758814"/>
            <a:ext cx="8177547" cy="4389120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1769701"/>
            <a:ext cx="180032" cy="43865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999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-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Logo_AGT_rgb_1mm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632" y="348902"/>
            <a:ext cx="2745865" cy="692020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0" y="1455736"/>
            <a:ext cx="9144001" cy="5402264"/>
            <a:chOff x="0" y="1455736"/>
            <a:chExt cx="9144001" cy="5402264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" y="4403724"/>
              <a:ext cx="9144000" cy="2454276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0" y="1455738"/>
              <a:ext cx="180032" cy="2897187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8623300" y="1455736"/>
              <a:ext cx="520700" cy="2897187"/>
            </a:xfrm>
            <a:prstGeom prst="rect">
              <a:avLst/>
            </a:prstGeom>
            <a:solidFill>
              <a:srgbClr val="ED1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30614" y="1455736"/>
              <a:ext cx="8344631" cy="2897187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954975" y="2222063"/>
            <a:ext cx="7046025" cy="936625"/>
          </a:xfrm>
          <a:prstGeom prst="rect">
            <a:avLst/>
          </a:prstGeom>
        </p:spPr>
        <p:txBody>
          <a:bodyPr lIns="27432"/>
          <a:lstStyle>
            <a:lvl1pPr algn="l">
              <a:defRPr lang="en-US" sz="2200" b="1" kern="12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496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56796" y="1764303"/>
            <a:ext cx="4992514" cy="3667531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555792" y="1764302"/>
            <a:ext cx="3060700" cy="36730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/>
            </a:lvl1pPr>
            <a:lvl2pPr marL="403225" indent="-225425">
              <a:buFont typeface="Arial" pitchFamily="34" charset="0"/>
              <a:buChar char="•"/>
              <a:tabLst/>
              <a:defRPr sz="1400"/>
            </a:lvl2pPr>
            <a:lvl3pPr marL="631825" indent="-207963">
              <a:buFont typeface="Arial" pitchFamily="34" charset="0"/>
              <a:buChar char="•"/>
              <a:defRPr sz="1200"/>
            </a:lvl3pPr>
            <a:lvl4pPr marL="914400" indent="-258763" defTabSz="1031875">
              <a:tabLst/>
              <a:defRPr sz="1100"/>
            </a:lvl4pPr>
            <a:lvl5pPr marL="1143000" indent="-211138"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0" y="1769702"/>
            <a:ext cx="180032" cy="3681864"/>
          </a:xfrm>
          <a:prstGeom prst="rect">
            <a:avLst/>
          </a:prstGeom>
          <a:solidFill>
            <a:srgbClr val="ED1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269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trip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1769701"/>
            <a:ext cx="180032" cy="18356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56796" y="1764303"/>
            <a:ext cx="8175576" cy="1841045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4" name="Content Placeholder 21"/>
          <p:cNvSpPr>
            <a:spLocks noGrp="1"/>
          </p:cNvSpPr>
          <p:nvPr>
            <p:ph sz="quarter" idx="21"/>
          </p:nvPr>
        </p:nvSpPr>
        <p:spPr>
          <a:xfrm>
            <a:off x="428675" y="3838353"/>
            <a:ext cx="8203696" cy="2159676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210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trip + Text in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/>
          <p:cNvSpPr>
            <a:spLocks noGrp="1"/>
          </p:cNvSpPr>
          <p:nvPr>
            <p:ph sz="quarter" idx="21"/>
          </p:nvPr>
        </p:nvSpPr>
        <p:spPr>
          <a:xfrm>
            <a:off x="428675" y="3838353"/>
            <a:ext cx="4105275" cy="2159676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Content Placeholder 21"/>
          <p:cNvSpPr>
            <a:spLocks noGrp="1"/>
          </p:cNvSpPr>
          <p:nvPr>
            <p:ph sz="quarter" idx="22"/>
          </p:nvPr>
        </p:nvSpPr>
        <p:spPr>
          <a:xfrm>
            <a:off x="4617990" y="3838353"/>
            <a:ext cx="4014381" cy="2159676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1769701"/>
            <a:ext cx="180032" cy="1835647"/>
          </a:xfrm>
          <a:prstGeom prst="rect">
            <a:avLst/>
          </a:prstGeom>
          <a:solidFill>
            <a:srgbClr val="ED1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56795" y="1764303"/>
            <a:ext cx="8164691" cy="1841045"/>
          </a:xfrm>
          <a:prstGeom prst="rect">
            <a:avLst/>
          </a:prstGeo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231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 userDrawn="1">
            <p:ph type="body" idx="12"/>
          </p:nvPr>
        </p:nvSpPr>
        <p:spPr>
          <a:xfrm>
            <a:off x="455029" y="3714375"/>
            <a:ext cx="2648203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rgbClr val="ED1A3B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55029" y="1758006"/>
            <a:ext cx="2648203" cy="1834280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3230498" y="1758006"/>
            <a:ext cx="2648203" cy="1834280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996553" y="1758006"/>
            <a:ext cx="2648203" cy="1834280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455029" y="4397591"/>
            <a:ext cx="2648203" cy="1570038"/>
          </a:xfrm>
        </p:spPr>
        <p:txBody>
          <a:bodyPr lIns="36576">
            <a:noAutofit/>
          </a:bodyPr>
          <a:lstStyle>
            <a:lvl1pPr marL="52388" indent="-52388">
              <a:buClr>
                <a:schemeClr val="bg1"/>
              </a:buClr>
              <a:defRPr sz="1200" b="1">
                <a:solidFill>
                  <a:srgbClr val="464646"/>
                </a:solidFill>
              </a:defRPr>
            </a:lvl1pPr>
            <a:lvl2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2pPr>
            <a:lvl3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3pPr>
            <a:lvl4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4pPr>
            <a:lvl5pPr marL="201613" indent="-149225">
              <a:buClr>
                <a:srgbClr val="FF0000"/>
              </a:buClr>
              <a:defRPr sz="1200" b="0">
                <a:solidFill>
                  <a:srgbClr val="46464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28"/>
          </p:nvPr>
        </p:nvSpPr>
        <p:spPr>
          <a:xfrm>
            <a:off x="3230498" y="3714375"/>
            <a:ext cx="2638697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rgbClr val="ED1A3B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30"/>
          </p:nvPr>
        </p:nvSpPr>
        <p:spPr>
          <a:xfrm>
            <a:off x="5996553" y="3714375"/>
            <a:ext cx="2648203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rgbClr val="ED1A3B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18"/>
          <p:cNvSpPr>
            <a:spLocks noGrp="1"/>
          </p:cNvSpPr>
          <p:nvPr>
            <p:ph type="body" sz="quarter" idx="31"/>
          </p:nvPr>
        </p:nvSpPr>
        <p:spPr>
          <a:xfrm>
            <a:off x="3230498" y="4397591"/>
            <a:ext cx="2648203" cy="1570038"/>
          </a:xfrm>
        </p:spPr>
        <p:txBody>
          <a:bodyPr lIns="36576">
            <a:noAutofit/>
          </a:bodyPr>
          <a:lstStyle>
            <a:lvl1pPr marL="52388" indent="-52388">
              <a:buClr>
                <a:schemeClr val="bg1"/>
              </a:buClr>
              <a:defRPr sz="1200" b="1">
                <a:solidFill>
                  <a:srgbClr val="464646"/>
                </a:solidFill>
              </a:defRPr>
            </a:lvl1pPr>
            <a:lvl2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2pPr>
            <a:lvl3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3pPr>
            <a:lvl4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4pPr>
            <a:lvl5pPr marL="201613" indent="-149225">
              <a:buClr>
                <a:srgbClr val="FF0000"/>
              </a:buClr>
              <a:defRPr sz="1200" b="0">
                <a:solidFill>
                  <a:srgbClr val="46464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Text Placeholder 18"/>
          <p:cNvSpPr>
            <a:spLocks noGrp="1"/>
          </p:cNvSpPr>
          <p:nvPr>
            <p:ph type="body" sz="quarter" idx="32"/>
          </p:nvPr>
        </p:nvSpPr>
        <p:spPr>
          <a:xfrm>
            <a:off x="5996553" y="4397591"/>
            <a:ext cx="2648203" cy="1570038"/>
          </a:xfrm>
        </p:spPr>
        <p:txBody>
          <a:bodyPr lIns="36576">
            <a:noAutofit/>
          </a:bodyPr>
          <a:lstStyle>
            <a:lvl1pPr marL="52388" indent="-52388">
              <a:buClr>
                <a:schemeClr val="bg1"/>
              </a:buClr>
              <a:defRPr sz="1200" b="1">
                <a:solidFill>
                  <a:srgbClr val="464646"/>
                </a:solidFill>
              </a:defRPr>
            </a:lvl1pPr>
            <a:lvl2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2pPr>
            <a:lvl3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3pPr>
            <a:lvl4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4pPr>
            <a:lvl5pPr marL="201613" indent="-149225">
              <a:buClr>
                <a:srgbClr val="FF0000"/>
              </a:buClr>
              <a:defRPr sz="1200" b="0">
                <a:solidFill>
                  <a:srgbClr val="46464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1769701"/>
            <a:ext cx="180032" cy="1835647"/>
          </a:xfrm>
          <a:prstGeom prst="rect">
            <a:avLst/>
          </a:prstGeom>
          <a:solidFill>
            <a:srgbClr val="ED1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035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53391" y="1749470"/>
            <a:ext cx="2084708" cy="1855878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576990" y="1748630"/>
            <a:ext cx="2084708" cy="1855878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02991" y="1747937"/>
            <a:ext cx="2084708" cy="1855878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826590" y="1747097"/>
            <a:ext cx="2084708" cy="1855878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2"/>
          <p:cNvSpPr>
            <a:spLocks noGrp="1"/>
          </p:cNvSpPr>
          <p:nvPr>
            <p:ph type="body" idx="12"/>
          </p:nvPr>
        </p:nvSpPr>
        <p:spPr>
          <a:xfrm>
            <a:off x="453391" y="3714375"/>
            <a:ext cx="2084832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rgbClr val="ED1A3B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9"/>
          </p:nvPr>
        </p:nvSpPr>
        <p:spPr>
          <a:xfrm>
            <a:off x="2576990" y="3714375"/>
            <a:ext cx="2084832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rgbClr val="ED1A3B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31"/>
          </p:nvPr>
        </p:nvSpPr>
        <p:spPr>
          <a:xfrm>
            <a:off x="4702991" y="3714375"/>
            <a:ext cx="2084832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rgbClr val="ED1A3B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33"/>
          </p:nvPr>
        </p:nvSpPr>
        <p:spPr>
          <a:xfrm>
            <a:off x="6826590" y="3714375"/>
            <a:ext cx="2084832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rgbClr val="ED1A3B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8"/>
          <p:cNvSpPr>
            <a:spLocks noGrp="1"/>
          </p:cNvSpPr>
          <p:nvPr>
            <p:ph type="body" sz="quarter" idx="34"/>
          </p:nvPr>
        </p:nvSpPr>
        <p:spPr>
          <a:xfrm>
            <a:off x="453391" y="4397591"/>
            <a:ext cx="2084832" cy="1570038"/>
          </a:xfrm>
        </p:spPr>
        <p:txBody>
          <a:bodyPr lIns="36576">
            <a:noAutofit/>
          </a:bodyPr>
          <a:lstStyle>
            <a:lvl1pPr marL="52388" indent="-52388">
              <a:buClr>
                <a:schemeClr val="bg1"/>
              </a:buClr>
              <a:defRPr sz="1200" b="1">
                <a:solidFill>
                  <a:srgbClr val="464646"/>
                </a:solidFill>
              </a:defRPr>
            </a:lvl1pPr>
            <a:lvl2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2pPr>
            <a:lvl3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3pPr>
            <a:lvl4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4pPr>
            <a:lvl5pPr marL="201613" indent="-149225">
              <a:buClr>
                <a:srgbClr val="FF0000"/>
              </a:buClr>
              <a:defRPr sz="1200" b="0">
                <a:solidFill>
                  <a:srgbClr val="46464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35"/>
          </p:nvPr>
        </p:nvSpPr>
        <p:spPr>
          <a:xfrm>
            <a:off x="2576990" y="4397591"/>
            <a:ext cx="2084832" cy="1570038"/>
          </a:xfrm>
        </p:spPr>
        <p:txBody>
          <a:bodyPr lIns="36576">
            <a:noAutofit/>
          </a:bodyPr>
          <a:lstStyle>
            <a:lvl1pPr marL="52388" indent="-52388">
              <a:buClr>
                <a:schemeClr val="bg1"/>
              </a:buClr>
              <a:defRPr sz="1200" b="1">
                <a:solidFill>
                  <a:srgbClr val="464646"/>
                </a:solidFill>
              </a:defRPr>
            </a:lvl1pPr>
            <a:lvl2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2pPr>
            <a:lvl3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3pPr>
            <a:lvl4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4pPr>
            <a:lvl5pPr marL="201613" indent="-149225">
              <a:buClr>
                <a:srgbClr val="FF0000"/>
              </a:buClr>
              <a:defRPr sz="1200" b="0">
                <a:solidFill>
                  <a:srgbClr val="46464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36"/>
          </p:nvPr>
        </p:nvSpPr>
        <p:spPr>
          <a:xfrm>
            <a:off x="4702991" y="4397591"/>
            <a:ext cx="2084832" cy="1570038"/>
          </a:xfrm>
        </p:spPr>
        <p:txBody>
          <a:bodyPr lIns="36576">
            <a:noAutofit/>
          </a:bodyPr>
          <a:lstStyle>
            <a:lvl1pPr marL="52388" indent="-52388">
              <a:buClr>
                <a:schemeClr val="bg1"/>
              </a:buClr>
              <a:defRPr sz="1200" b="1">
                <a:solidFill>
                  <a:srgbClr val="464646"/>
                </a:solidFill>
              </a:defRPr>
            </a:lvl1pPr>
            <a:lvl2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2pPr>
            <a:lvl3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3pPr>
            <a:lvl4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4pPr>
            <a:lvl5pPr marL="201613" indent="-149225">
              <a:buClr>
                <a:srgbClr val="FF0000"/>
              </a:buClr>
              <a:defRPr sz="1200" b="0">
                <a:solidFill>
                  <a:srgbClr val="46464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37"/>
          </p:nvPr>
        </p:nvSpPr>
        <p:spPr>
          <a:xfrm>
            <a:off x="6826590" y="4397591"/>
            <a:ext cx="2084832" cy="1570038"/>
          </a:xfrm>
        </p:spPr>
        <p:txBody>
          <a:bodyPr lIns="36576">
            <a:noAutofit/>
          </a:bodyPr>
          <a:lstStyle>
            <a:lvl1pPr marL="52388" indent="-52388">
              <a:buClr>
                <a:schemeClr val="bg1"/>
              </a:buClr>
              <a:defRPr sz="1200" b="1">
                <a:solidFill>
                  <a:srgbClr val="464646"/>
                </a:solidFill>
              </a:defRPr>
            </a:lvl1pPr>
            <a:lvl2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2pPr>
            <a:lvl3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3pPr>
            <a:lvl4pPr marL="201613" indent="-149225">
              <a:buClr>
                <a:schemeClr val="accent1"/>
              </a:buClr>
              <a:defRPr sz="1200" b="0">
                <a:solidFill>
                  <a:srgbClr val="464646"/>
                </a:solidFill>
              </a:defRPr>
            </a:lvl4pPr>
            <a:lvl5pPr marL="201613" indent="-149225">
              <a:buClr>
                <a:srgbClr val="FF0000"/>
              </a:buClr>
              <a:defRPr sz="1200" b="0">
                <a:solidFill>
                  <a:srgbClr val="46464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0" y="1769701"/>
            <a:ext cx="180032" cy="1835647"/>
          </a:xfrm>
          <a:prstGeom prst="rect">
            <a:avLst/>
          </a:prstGeom>
          <a:solidFill>
            <a:srgbClr val="ED1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605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+ Text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57200" y="1768265"/>
            <a:ext cx="2836069" cy="1837964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0" y="1769701"/>
            <a:ext cx="180032" cy="38761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346340" y="1767869"/>
            <a:ext cx="5518278" cy="18427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/>
            </a:lvl1pPr>
            <a:lvl2pPr marL="511175" indent="-279400">
              <a:buFont typeface="Arial" pitchFamily="34" charset="0"/>
              <a:buChar char="•"/>
              <a:defRPr sz="1400"/>
            </a:lvl2pPr>
            <a:lvl3pPr marL="739775" indent="-220663">
              <a:buFont typeface="Arial" pitchFamily="34" charset="0"/>
              <a:buChar char="•"/>
              <a:defRPr sz="1200"/>
            </a:lvl3pPr>
            <a:lvl4pPr marL="1033463" indent="-206375">
              <a:defRPr sz="1100"/>
            </a:lvl4pPr>
            <a:lvl5pPr marL="1262063" indent="-195263"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57200" y="3799084"/>
            <a:ext cx="2836069" cy="1837964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348612" y="3790045"/>
            <a:ext cx="5518278" cy="18427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/>
            </a:lvl1pPr>
            <a:lvl2pPr marL="511175" indent="-279400">
              <a:buFont typeface="Arial" pitchFamily="34" charset="0"/>
              <a:buChar char="•"/>
              <a:defRPr sz="1400"/>
            </a:lvl2pPr>
            <a:lvl3pPr marL="739775" indent="-220663">
              <a:buFont typeface="Arial" pitchFamily="34" charset="0"/>
              <a:buChar char="•"/>
              <a:defRPr sz="1200"/>
            </a:lvl3pPr>
            <a:lvl4pPr marL="1033463" indent="-206375">
              <a:defRPr sz="1100"/>
            </a:lvl4pPr>
            <a:lvl5pPr marL="1262063" indent="-195263"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693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hotos + Text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457200" y="1766889"/>
            <a:ext cx="1519237" cy="768347"/>
          </a:xfrm>
          <a:prstGeom prst="rect">
            <a:avLst/>
          </a:prstGeom>
          <a:noFill/>
        </p:spPr>
        <p:txBody>
          <a:bodyPr wrap="square"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57200" y="2590800"/>
            <a:ext cx="1519237" cy="768347"/>
          </a:xfrm>
          <a:prstGeom prst="rect">
            <a:avLst/>
          </a:prstGeom>
          <a:noFill/>
        </p:spPr>
        <p:txBody>
          <a:bodyPr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7200" y="3429000"/>
            <a:ext cx="1519237" cy="768347"/>
          </a:xfrm>
          <a:prstGeom prst="rect">
            <a:avLst/>
          </a:prstGeom>
          <a:noFill/>
        </p:spPr>
        <p:txBody>
          <a:bodyPr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57200" y="4267200"/>
            <a:ext cx="1519237" cy="768347"/>
          </a:xfrm>
          <a:prstGeom prst="rect">
            <a:avLst/>
          </a:prstGeom>
          <a:noFill/>
        </p:spPr>
        <p:txBody>
          <a:bodyPr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457200" y="5105400"/>
            <a:ext cx="1519237" cy="768347"/>
          </a:xfrm>
          <a:prstGeom prst="rect">
            <a:avLst/>
          </a:prstGeom>
          <a:noFill/>
        </p:spPr>
        <p:txBody>
          <a:bodyPr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052637" y="1766888"/>
            <a:ext cx="6570663" cy="773272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sz="1400">
                <a:solidFill>
                  <a:srgbClr val="ED1A3B"/>
                </a:solidFill>
              </a:defRPr>
            </a:lvl1pPr>
            <a:lvl2pPr marL="288925" indent="-171450">
              <a:buFont typeface="Arial" pitchFamily="34" charset="0"/>
              <a:buChar char="•"/>
              <a:defRPr sz="1200">
                <a:solidFill>
                  <a:srgbClr val="464646"/>
                </a:solidFill>
              </a:defRPr>
            </a:lvl2pPr>
            <a:lvl3pPr>
              <a:defRPr sz="1200">
                <a:solidFill>
                  <a:srgbClr val="7D7D7D"/>
                </a:solidFill>
              </a:defRPr>
            </a:lvl3pPr>
            <a:lvl4pPr>
              <a:defRPr sz="1200">
                <a:solidFill>
                  <a:srgbClr val="7D7D7D"/>
                </a:solidFill>
              </a:defRPr>
            </a:lvl4pPr>
            <a:lvl5pPr>
              <a:defRPr sz="1200">
                <a:solidFill>
                  <a:srgbClr val="7D7D7D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0" y="1769701"/>
            <a:ext cx="180032" cy="41085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44"/>
          </p:nvPr>
        </p:nvSpPr>
        <p:spPr>
          <a:xfrm>
            <a:off x="2052637" y="2590800"/>
            <a:ext cx="6570663" cy="773272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sz="1400">
                <a:solidFill>
                  <a:srgbClr val="ED1A3B"/>
                </a:solidFill>
              </a:defRPr>
            </a:lvl1pPr>
            <a:lvl2pPr marL="117475" indent="0">
              <a:buFont typeface="Arial" pitchFamily="34" charset="0"/>
              <a:buNone/>
              <a:defRPr lang="en-US" sz="120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rgbClr val="7D7D7D"/>
                </a:solidFill>
              </a:defRPr>
            </a:lvl3pPr>
            <a:lvl4pPr>
              <a:defRPr sz="1200">
                <a:solidFill>
                  <a:srgbClr val="7D7D7D"/>
                </a:solidFill>
              </a:defRPr>
            </a:lvl4pPr>
            <a:lvl5pPr>
              <a:defRPr sz="1200">
                <a:solidFill>
                  <a:srgbClr val="7D7D7D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282575" lvl="1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</a:pPr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5"/>
          </p:nvPr>
        </p:nvSpPr>
        <p:spPr>
          <a:xfrm>
            <a:off x="2052637" y="3429000"/>
            <a:ext cx="6570663" cy="773272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sz="1400">
                <a:solidFill>
                  <a:srgbClr val="ED1A3B"/>
                </a:solidFill>
              </a:defRPr>
            </a:lvl1pPr>
            <a:lvl2pPr marL="117475" indent="0">
              <a:buFont typeface="Arial" pitchFamily="34" charset="0"/>
              <a:buNone/>
              <a:defRPr lang="en-US" sz="120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rgbClr val="7D7D7D"/>
                </a:solidFill>
              </a:defRPr>
            </a:lvl3pPr>
            <a:lvl4pPr>
              <a:defRPr sz="1200">
                <a:solidFill>
                  <a:srgbClr val="7D7D7D"/>
                </a:solidFill>
              </a:defRPr>
            </a:lvl4pPr>
            <a:lvl5pPr>
              <a:defRPr sz="1200">
                <a:solidFill>
                  <a:srgbClr val="7D7D7D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282575" lvl="1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</a:pPr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6"/>
          </p:nvPr>
        </p:nvSpPr>
        <p:spPr>
          <a:xfrm>
            <a:off x="2052637" y="4263866"/>
            <a:ext cx="6570663" cy="773272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sz="1400">
                <a:solidFill>
                  <a:srgbClr val="ED1A3B"/>
                </a:solidFill>
              </a:defRPr>
            </a:lvl1pPr>
            <a:lvl2pPr marL="117475" indent="0">
              <a:buFont typeface="Arial" pitchFamily="34" charset="0"/>
              <a:buNone/>
              <a:defRPr lang="en-US" sz="120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rgbClr val="7D7D7D"/>
                </a:solidFill>
              </a:defRPr>
            </a:lvl3pPr>
            <a:lvl4pPr>
              <a:defRPr sz="1200">
                <a:solidFill>
                  <a:srgbClr val="7D7D7D"/>
                </a:solidFill>
              </a:defRPr>
            </a:lvl4pPr>
            <a:lvl5pPr>
              <a:defRPr sz="1200">
                <a:solidFill>
                  <a:srgbClr val="7D7D7D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282575" lvl="1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</a:pPr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7"/>
          </p:nvPr>
        </p:nvSpPr>
        <p:spPr>
          <a:xfrm>
            <a:off x="2052637" y="5116353"/>
            <a:ext cx="6570663" cy="773272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sz="1400">
                <a:solidFill>
                  <a:srgbClr val="ED1A3B"/>
                </a:solidFill>
              </a:defRPr>
            </a:lvl1pPr>
            <a:lvl2pPr marL="117475" indent="0">
              <a:buFont typeface="Arial" pitchFamily="34" charset="0"/>
              <a:buNone/>
              <a:defRPr lang="en-US" sz="1200" kern="1200" dirty="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rgbClr val="7D7D7D"/>
                </a:solidFill>
              </a:defRPr>
            </a:lvl3pPr>
            <a:lvl4pPr>
              <a:defRPr sz="1200">
                <a:solidFill>
                  <a:srgbClr val="7D7D7D"/>
                </a:solidFill>
              </a:defRPr>
            </a:lvl4pPr>
            <a:lvl5pPr>
              <a:defRPr sz="1200">
                <a:solidFill>
                  <a:srgbClr val="7D7D7D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282575" lvl="1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</a:pPr>
            <a:r>
              <a:rPr lang="en-US" dirty="0" smtClean="0"/>
              <a:t>Secon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098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57200" y="1769701"/>
            <a:ext cx="1828799" cy="1958881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846317" y="1769701"/>
            <a:ext cx="1828799" cy="1958881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454805" y="4037921"/>
            <a:ext cx="1828799" cy="1976491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843922" y="4037921"/>
            <a:ext cx="1828799" cy="1962565"/>
          </a:xfrm>
          <a:prstGeom prst="rect">
            <a:avLst/>
          </a:prstGeo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66800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1769701"/>
            <a:ext cx="180032" cy="4258959"/>
          </a:xfrm>
          <a:prstGeom prst="rect">
            <a:avLst/>
          </a:prstGeom>
          <a:solidFill>
            <a:srgbClr val="ED1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50"/>
          </p:nvPr>
        </p:nvSpPr>
        <p:spPr>
          <a:xfrm>
            <a:off x="6724523" y="1770063"/>
            <a:ext cx="2155825" cy="1958975"/>
          </a:xfrm>
        </p:spPr>
        <p:txBody>
          <a:bodyPr/>
          <a:lstStyle>
            <a:lvl1pPr marL="0" indent="0">
              <a:buFont typeface="Arial" pitchFamily="34" charset="0"/>
              <a:buNone/>
              <a:defRPr sz="1400"/>
            </a:lvl1pPr>
            <a:lvl2pPr marL="347663" indent="-177800">
              <a:defRPr sz="1200"/>
            </a:lvl2pPr>
            <a:lvl3pPr marL="576263" indent="-169863">
              <a:defRPr sz="1100"/>
            </a:lvl3pPr>
            <a:lvl4pPr marL="804863" indent="-173038">
              <a:defRPr sz="1050"/>
            </a:lvl4pPr>
            <a:lvl5pPr marL="1033463" indent="-173038"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52"/>
          </p:nvPr>
        </p:nvSpPr>
        <p:spPr>
          <a:xfrm>
            <a:off x="2347935" y="1769607"/>
            <a:ext cx="2155825" cy="1958975"/>
          </a:xfrm>
        </p:spPr>
        <p:txBody>
          <a:bodyPr/>
          <a:lstStyle>
            <a:lvl1pPr marL="0" indent="0">
              <a:buFont typeface="Arial" pitchFamily="34" charset="0"/>
              <a:buNone/>
              <a:defRPr sz="1400"/>
            </a:lvl1pPr>
            <a:lvl2pPr marL="347663" indent="-177800">
              <a:defRPr sz="1200"/>
            </a:lvl2pPr>
            <a:lvl3pPr marL="576263" indent="-169863">
              <a:defRPr sz="1100"/>
            </a:lvl3pPr>
            <a:lvl4pPr marL="804863" indent="-173038">
              <a:defRPr sz="1050"/>
            </a:lvl4pPr>
            <a:lvl5pPr marL="1033463" indent="-173038"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53"/>
          </p:nvPr>
        </p:nvSpPr>
        <p:spPr>
          <a:xfrm>
            <a:off x="6724523" y="4038377"/>
            <a:ext cx="2155825" cy="1958975"/>
          </a:xfrm>
        </p:spPr>
        <p:txBody>
          <a:bodyPr/>
          <a:lstStyle>
            <a:lvl1pPr marL="0" indent="0">
              <a:buFont typeface="Arial" pitchFamily="34" charset="0"/>
              <a:buNone/>
              <a:defRPr sz="1400"/>
            </a:lvl1pPr>
            <a:lvl2pPr marL="347663" indent="-177800">
              <a:defRPr sz="1200"/>
            </a:lvl2pPr>
            <a:lvl3pPr marL="576263" indent="-169863">
              <a:defRPr sz="1100"/>
            </a:lvl3pPr>
            <a:lvl4pPr marL="804863" indent="-173038">
              <a:defRPr sz="1050"/>
            </a:lvl4pPr>
            <a:lvl5pPr marL="1033463" indent="-173038"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54"/>
          </p:nvPr>
        </p:nvSpPr>
        <p:spPr>
          <a:xfrm>
            <a:off x="2347935" y="4037921"/>
            <a:ext cx="2155825" cy="1958975"/>
          </a:xfrm>
        </p:spPr>
        <p:txBody>
          <a:bodyPr/>
          <a:lstStyle>
            <a:lvl1pPr marL="0" indent="0">
              <a:buFont typeface="Arial" pitchFamily="34" charset="0"/>
              <a:buNone/>
              <a:defRPr sz="1400"/>
            </a:lvl1pPr>
            <a:lvl2pPr marL="347663" indent="-177800">
              <a:defRPr sz="1200"/>
            </a:lvl2pPr>
            <a:lvl3pPr marL="576263" indent="-169863">
              <a:defRPr sz="1100"/>
            </a:lvl3pPr>
            <a:lvl4pPr marL="804863" indent="-173038">
              <a:defRPr sz="1050"/>
            </a:lvl4pPr>
            <a:lvl5pPr marL="1033463" indent="-173038"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913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9DD2C4-2CAC-4585-A2D8-6093FF914BDF}" type="datetimeFigureOut">
              <a:rPr lang="en-US" smtClean="0"/>
              <a:t>3/1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548B426-D10B-4A5C-8311-B6400D544C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490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Horizont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8" descr="Logo_AGT_rgb_1mm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632" y="348902"/>
            <a:ext cx="2745865" cy="69202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1" y="4403724"/>
            <a:ext cx="9144000" cy="2454276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0" y="1455738"/>
            <a:ext cx="180032" cy="2897187"/>
          </a:xfrm>
          <a:prstGeom prst="rect">
            <a:avLst/>
          </a:prstGeom>
          <a:solidFill>
            <a:srgbClr val="ED1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8623300" y="1455736"/>
            <a:ext cx="520700" cy="2897187"/>
          </a:xfrm>
          <a:prstGeom prst="rect">
            <a:avLst/>
          </a:prstGeom>
          <a:solidFill>
            <a:srgbClr val="ED1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25425" y="1464090"/>
            <a:ext cx="8355013" cy="2897187"/>
          </a:xfrm>
          <a:noFill/>
        </p:spPr>
        <p:txBody>
          <a:bodyPr/>
          <a:lstStyle/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954975" y="4271202"/>
            <a:ext cx="7772400" cy="9366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200" b="1" kern="1200" dirty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54975" y="5361985"/>
            <a:ext cx="6400800" cy="3967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800" b="1" kern="1200" smtClean="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954975" y="5725788"/>
            <a:ext cx="6400800" cy="304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b="0" kern="1200" dirty="0" smtClean="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773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Vertic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8" descr="Logo_AGT_rgb_1mm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632" y="348902"/>
            <a:ext cx="2745865" cy="69202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1455738"/>
            <a:ext cx="173182" cy="5402262"/>
          </a:xfrm>
          <a:prstGeom prst="rect">
            <a:avLst/>
          </a:prstGeom>
          <a:solidFill>
            <a:srgbClr val="ED1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3498273" y="1455736"/>
            <a:ext cx="5076973" cy="540226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25424" y="1464090"/>
            <a:ext cx="3220509" cy="5393910"/>
          </a:xfrm>
          <a:noFill/>
        </p:spPr>
        <p:txBody>
          <a:bodyPr/>
          <a:lstStyle/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627729" y="1589408"/>
            <a:ext cx="4819921" cy="936625"/>
          </a:xfrm>
          <a:prstGeom prst="rect">
            <a:avLst/>
          </a:prstGeom>
        </p:spPr>
        <p:txBody>
          <a:bodyPr lIns="91440"/>
          <a:lstStyle>
            <a:lvl1pPr marL="0" indent="0" algn="l">
              <a:defRPr lang="en-US" sz="2200" b="1" kern="1200" smtClean="0">
                <a:solidFill>
                  <a:srgbClr val="ED1A3B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627729" y="2680191"/>
            <a:ext cx="4819921" cy="3967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800" b="1" kern="1200" smtClean="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3627729" y="3043994"/>
            <a:ext cx="4819921" cy="304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b="0" kern="1200" dirty="0" smtClean="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623300" y="1455736"/>
            <a:ext cx="520700" cy="5402264"/>
          </a:xfrm>
          <a:prstGeom prst="rect">
            <a:avLst/>
          </a:prstGeom>
          <a:solidFill>
            <a:srgbClr val="ED1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73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1285875"/>
            <a:ext cx="9144000" cy="48006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57201" y="1570913"/>
            <a:ext cx="8142514" cy="4220287"/>
          </a:xfrm>
          <a:noFill/>
        </p:spPr>
        <p:txBody>
          <a:bodyPr lIns="91440">
            <a:noAutofit/>
          </a:bodyPr>
          <a:lstStyle>
            <a:lvl1pPr marL="228600" indent="-228600">
              <a:buClr>
                <a:srgbClr val="ED1933"/>
              </a:buClr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1pPr>
            <a:lvl2pPr marL="511175" indent="-228600">
              <a:buClr>
                <a:schemeClr val="accent1"/>
              </a:buClr>
              <a:buFont typeface="Arial" pitchFamily="34" charset="0"/>
              <a:buChar char="•"/>
              <a:tabLst/>
              <a:defRPr>
                <a:solidFill>
                  <a:schemeClr val="bg2"/>
                </a:solidFill>
              </a:defRPr>
            </a:lvl2pPr>
            <a:lvl3pPr marL="808038" indent="-247650">
              <a:defRPr>
                <a:solidFill>
                  <a:schemeClr val="bg2"/>
                </a:solidFill>
              </a:defRPr>
            </a:lvl3pPr>
            <a:lvl4pPr marL="1089025" indent="-228600">
              <a:defRPr>
                <a:solidFill>
                  <a:schemeClr val="bg2"/>
                </a:solidFill>
              </a:defRPr>
            </a:lvl4pPr>
            <a:lvl5pPr marL="1317625" indent="-174625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544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572767"/>
            <a:ext cx="8111322" cy="4424271"/>
          </a:xfrm>
        </p:spPr>
        <p:txBody>
          <a:bodyPr lIns="91440"/>
          <a:lstStyle>
            <a:lvl1pPr marL="225425" indent="-225425">
              <a:buClr>
                <a:schemeClr val="accent1"/>
              </a:buClr>
              <a:defRPr/>
            </a:lvl1pPr>
            <a:lvl2pPr marL="511175" indent="-225425">
              <a:defRPr/>
            </a:lvl2pPr>
            <a:lvl3pPr marL="795338" indent="-225425">
              <a:defRPr/>
            </a:lvl3pPr>
            <a:lvl4pPr marL="1081088" indent="-225425">
              <a:defRPr/>
            </a:lvl4pPr>
            <a:lvl5pPr marL="1323975" indent="-184150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87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999" y="350838"/>
            <a:ext cx="8123238" cy="56356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1999" y="1572767"/>
            <a:ext cx="8111322" cy="4424271"/>
          </a:xfrm>
        </p:spPr>
        <p:txBody>
          <a:bodyPr lIns="91440"/>
          <a:lstStyle>
            <a:lvl1pPr marL="225425" indent="-225425">
              <a:buClr>
                <a:schemeClr val="accent1"/>
              </a:buClr>
              <a:defRPr/>
            </a:lvl1pPr>
            <a:lvl2pPr marL="511175" indent="-225425">
              <a:defRPr/>
            </a:lvl2pPr>
            <a:lvl3pPr marL="795338" indent="-225425">
              <a:defRPr/>
            </a:lvl3pPr>
            <a:lvl4pPr marL="1081088" indent="-225425">
              <a:defRPr/>
            </a:lvl4pPr>
            <a:lvl5pPr marL="1323975" indent="-184150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1999" y="1057461"/>
            <a:ext cx="8098235" cy="438830"/>
          </a:xfrm>
        </p:spPr>
        <p:txBody>
          <a:bodyPr/>
          <a:lstStyle>
            <a:lvl1pPr marL="0" indent="0">
              <a:buNone/>
              <a:defRPr lang="en-US" sz="2000" b="1" kern="1200" dirty="0">
                <a:solidFill>
                  <a:srgbClr val="7D7D7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409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n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87138"/>
            <a:ext cx="4036423" cy="443076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buClr>
                <a:schemeClr val="accent1"/>
              </a:buClr>
              <a:buFont typeface="Arial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79438" indent="-333375">
              <a:buClr>
                <a:schemeClr val="accent1"/>
              </a:buClr>
              <a:buFont typeface="Arial" pitchFamily="34" charset="0"/>
              <a:buChar char="•"/>
              <a:tabLst/>
              <a:defRPr sz="1400">
                <a:solidFill>
                  <a:srgbClr val="464646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55663" indent="-282575">
              <a:buClr>
                <a:schemeClr val="accent1"/>
              </a:buClr>
              <a:buFont typeface="Arial" pitchFamily="34" charset="0"/>
              <a:buChar char="•"/>
              <a:defRPr sz="1200">
                <a:solidFill>
                  <a:srgbClr val="464646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143000" indent="-228600">
              <a:buClr>
                <a:schemeClr val="accent1"/>
              </a:buClr>
              <a:defRPr sz="1100">
                <a:solidFill>
                  <a:srgbClr val="464646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71600" indent="-215900">
              <a:buClr>
                <a:schemeClr val="accent1"/>
              </a:buClr>
              <a:buFont typeface="Arial" pitchFamily="34" charset="0"/>
              <a:buChar char="•"/>
              <a:defRPr sz="1000">
                <a:solidFill>
                  <a:srgbClr val="464646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0" y="1055914"/>
            <a:ext cx="8166100" cy="457200"/>
          </a:xfrm>
          <a:prstGeom prst="rect">
            <a:avLst/>
          </a:prstGeom>
        </p:spPr>
        <p:txBody>
          <a:bodyPr lIns="91440" anchor="t">
            <a:noAutofit/>
          </a:bodyPr>
          <a:lstStyle>
            <a:lvl1pPr marL="0" indent="0">
              <a:buNone/>
              <a:defRPr sz="2000">
                <a:solidFill>
                  <a:srgbClr val="7D7D7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8"/>
          </p:nvPr>
        </p:nvSpPr>
        <p:spPr>
          <a:xfrm>
            <a:off x="4599295" y="1587138"/>
            <a:ext cx="4036423" cy="4430760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>
              <a:buClr>
                <a:schemeClr val="accent1"/>
              </a:buClr>
              <a:buFont typeface="Arial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79438" indent="-333375">
              <a:buClr>
                <a:schemeClr val="accent1"/>
              </a:buClr>
              <a:buFont typeface="Arial" pitchFamily="34" charset="0"/>
              <a:buChar char="•"/>
              <a:tabLst/>
              <a:defRPr sz="1400">
                <a:solidFill>
                  <a:srgbClr val="464646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55663" indent="-282575">
              <a:buClr>
                <a:schemeClr val="accent1"/>
              </a:buClr>
              <a:buFont typeface="Arial" pitchFamily="34" charset="0"/>
              <a:buChar char="•"/>
              <a:defRPr sz="1200">
                <a:solidFill>
                  <a:srgbClr val="464646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143000" indent="-228600">
              <a:buClr>
                <a:schemeClr val="accent1"/>
              </a:buClr>
              <a:defRPr sz="1100">
                <a:solidFill>
                  <a:srgbClr val="464646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71600" indent="-215900">
              <a:buClr>
                <a:schemeClr val="accent1"/>
              </a:buClr>
              <a:buFont typeface="Arial" pitchFamily="34" charset="0"/>
              <a:buChar char="•"/>
              <a:defRPr sz="1000">
                <a:solidFill>
                  <a:srgbClr val="464646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25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2696"/>
            <a:ext cx="8123238" cy="56170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 flipV="1">
            <a:off x="-11127" y="0"/>
            <a:ext cx="9174305" cy="100584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6353568"/>
            <a:ext cx="9144000" cy="5044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 </a:t>
            </a:r>
          </a:p>
        </p:txBody>
      </p:sp>
      <p:pic>
        <p:nvPicPr>
          <p:cNvPr id="11" name="Grafik 8" descr="Logo_AGT_rgb_1mm.wmf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6421402"/>
            <a:ext cx="1295400" cy="326470"/>
          </a:xfrm>
          <a:prstGeom prst="rect">
            <a:avLst/>
          </a:prstGeom>
        </p:spPr>
      </p:pic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35428" y="350838"/>
            <a:ext cx="8123238" cy="5635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1"/>
          </p:nvPr>
        </p:nvSpPr>
        <p:spPr>
          <a:xfrm>
            <a:off x="435428" y="1117441"/>
            <a:ext cx="8439430" cy="5054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Rectangle 26"/>
          <p:cNvSpPr>
            <a:spLocks noChangeArrowheads="1"/>
          </p:cNvSpPr>
          <p:nvPr userDrawn="1"/>
        </p:nvSpPr>
        <p:spPr bwMode="black">
          <a:xfrm>
            <a:off x="8229600" y="6416040"/>
            <a:ext cx="457200" cy="36576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/>
          <a:p>
            <a:pPr marL="0" algn="r" defTabSz="914400" rtl="0" eaLnBrk="1" latinLnBrk="0" hangingPunct="1">
              <a:spcBef>
                <a:spcPct val="0"/>
              </a:spcBef>
              <a:tabLst>
                <a:tab pos="461963" algn="l"/>
                <a:tab pos="4572000" algn="ctr"/>
                <a:tab pos="8461375" algn="r"/>
                <a:tab pos="8855075" algn="r"/>
              </a:tabLst>
              <a:defRPr/>
            </a:pPr>
            <a:fld id="{E46DE64C-7D15-458B-8CF1-EEE6A14FF4AB}" type="slidenum">
              <a:rPr lang="en-US" sz="10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pPr marL="0" algn="r" defTabSz="914400" rtl="0" eaLnBrk="1" latinLnBrk="0" hangingPunct="1">
                <a:spcBef>
                  <a:spcPct val="0"/>
                </a:spcBef>
                <a:tabLst>
                  <a:tab pos="461963" algn="l"/>
                  <a:tab pos="4572000" algn="ctr"/>
                  <a:tab pos="8461375" algn="r"/>
                  <a:tab pos="8855075" algn="r"/>
                </a:tabLst>
                <a:defRPr/>
              </a:pPr>
              <a:t>‹#›</a:t>
            </a:fld>
            <a:endParaRPr lang="en-US" sz="1000" kern="1200">
              <a:solidFill>
                <a:schemeClr val="bg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016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649" r:id="rId2"/>
    <p:sldLayoutId id="2147483703" r:id="rId3"/>
    <p:sldLayoutId id="2147483716" r:id="rId4"/>
    <p:sldLayoutId id="2147483720" r:id="rId5"/>
    <p:sldLayoutId id="2147483723" r:id="rId6"/>
    <p:sldLayoutId id="2147483724" r:id="rId7"/>
    <p:sldLayoutId id="2147483664" r:id="rId8"/>
    <p:sldLayoutId id="2147483711" r:id="rId9"/>
    <p:sldLayoutId id="2147483681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708" r:id="rId16"/>
    <p:sldLayoutId id="2147483665" r:id="rId17"/>
    <p:sldLayoutId id="2147483666" r:id="rId18"/>
    <p:sldLayoutId id="2147483686" r:id="rId19"/>
    <p:sldLayoutId id="2147483699" r:id="rId20"/>
    <p:sldLayoutId id="2147483701" r:id="rId21"/>
    <p:sldLayoutId id="2147483687" r:id="rId22"/>
    <p:sldLayoutId id="2147483684" r:id="rId23"/>
    <p:sldLayoutId id="2147483692" r:id="rId24"/>
    <p:sldLayoutId id="2147483683" r:id="rId25"/>
    <p:sldLayoutId id="2147483691" r:id="rId26"/>
    <p:sldLayoutId id="2147483693" r:id="rId27"/>
    <p:sldLayoutId id="2147483725" r:id="rId2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628650" indent="-31432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Font typeface="Arial" pitchFamily="34" charset="0"/>
        <a:buChar char="•"/>
        <a:tabLst>
          <a:tab pos="1258888" algn="l"/>
        </a:tabLst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973138" indent="-331788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Font typeface="Arial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1258888" indent="-249238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Font typeface="Arial" pitchFamily="34" charset="0"/>
        <a:buChar char="•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543050" indent="-27305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Font typeface="Arial" pitchFamily="34" charset="0"/>
        <a:buChar char="•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9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18.png"/><Relationship Id="rId3" Type="http://schemas.openxmlformats.org/officeDocument/2006/relationships/tags" Target="../tags/tag3.xml"/><Relationship Id="rId21" Type="http://schemas.microsoft.com/office/2007/relationships/hdphoto" Target="../media/hdphoto1.wdp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7.png"/><Relationship Id="rId33" Type="http://schemas.openxmlformats.org/officeDocument/2006/relationships/image" Target="../media/image25.emf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13.png"/><Relationship Id="rId29" Type="http://schemas.openxmlformats.org/officeDocument/2006/relationships/image" Target="../media/image2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6.png"/><Relationship Id="rId32" Type="http://schemas.openxmlformats.org/officeDocument/2006/relationships/image" Target="../media/image24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15.png"/><Relationship Id="rId28" Type="http://schemas.openxmlformats.org/officeDocument/2006/relationships/image" Target="../media/image20.png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6.xml"/><Relationship Id="rId31" Type="http://schemas.openxmlformats.org/officeDocument/2006/relationships/image" Target="../media/image23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4.png"/><Relationship Id="rId27" Type="http://schemas.openxmlformats.org/officeDocument/2006/relationships/image" Target="../media/image19.png"/><Relationship Id="rId30" Type="http://schemas.openxmlformats.org/officeDocument/2006/relationships/image" Target="../media/image22.png"/><Relationship Id="rId8" Type="http://schemas.openxmlformats.org/officeDocument/2006/relationships/tags" Target="../tags/tag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29.pn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24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28.png"/><Relationship Id="rId5" Type="http://schemas.openxmlformats.org/officeDocument/2006/relationships/tags" Target="../tags/tag31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6.xml"/><Relationship Id="rId1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7.xml"/><Relationship Id="rId7" Type="http://schemas.openxmlformats.org/officeDocument/2006/relationships/image" Target="../media/image33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9.xml"/><Relationship Id="rId10" Type="http://schemas.openxmlformats.org/officeDocument/2006/relationships/image" Target="../media/image35.png"/><Relationship Id="rId4" Type="http://schemas.openxmlformats.org/officeDocument/2006/relationships/tags" Target="../tags/tag38.xml"/><Relationship Id="rId9" Type="http://schemas.openxmlformats.org/officeDocument/2006/relationships/image" Target="../media/image34.png"/></Relationships>
</file>

<file path=ppt/slides/_rels/slide4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42.xml"/><Relationship Id="rId7" Type="http://schemas.openxmlformats.org/officeDocument/2006/relationships/image" Target="../media/image33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4.xml"/><Relationship Id="rId10" Type="http://schemas.openxmlformats.org/officeDocument/2006/relationships/image" Target="../media/image35.png"/><Relationship Id="rId4" Type="http://schemas.openxmlformats.org/officeDocument/2006/relationships/tags" Target="../tags/tag43.xml"/><Relationship Id="rId9" Type="http://schemas.openxmlformats.org/officeDocument/2006/relationships/image" Target="../media/image34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37.pn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8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3.xml"/><Relationship Id="rId13" Type="http://schemas.openxmlformats.org/officeDocument/2006/relationships/diagramData" Target="../diagrams/data14.xml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12" Type="http://schemas.microsoft.com/office/2007/relationships/diagramDrawing" Target="../diagrams/drawing13.xml"/><Relationship Id="rId17" Type="http://schemas.microsoft.com/office/2007/relationships/diagramDrawing" Target="../diagrams/drawing14.xml"/><Relationship Id="rId2" Type="http://schemas.openxmlformats.org/officeDocument/2006/relationships/notesSlide" Target="../notesSlides/notesSlide22.xml"/><Relationship Id="rId16" Type="http://schemas.openxmlformats.org/officeDocument/2006/relationships/diagramColors" Target="../diagrams/colors14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2.xml"/><Relationship Id="rId11" Type="http://schemas.openxmlformats.org/officeDocument/2006/relationships/diagramColors" Target="../diagrams/colors13.xml"/><Relationship Id="rId5" Type="http://schemas.openxmlformats.org/officeDocument/2006/relationships/diagramQuickStyle" Target="../diagrams/quickStyle12.xml"/><Relationship Id="rId15" Type="http://schemas.openxmlformats.org/officeDocument/2006/relationships/diagramQuickStyle" Target="../diagrams/quickStyle14.xml"/><Relationship Id="rId10" Type="http://schemas.openxmlformats.org/officeDocument/2006/relationships/diagramQuickStyle" Target="../diagrams/quickStyle13.xml"/><Relationship Id="rId4" Type="http://schemas.openxmlformats.org/officeDocument/2006/relationships/diagramLayout" Target="../diagrams/layout12.xml"/><Relationship Id="rId9" Type="http://schemas.openxmlformats.org/officeDocument/2006/relationships/diagramLayout" Target="../diagrams/layout13.xml"/><Relationship Id="rId14" Type="http://schemas.openxmlformats.org/officeDocument/2006/relationships/diagramLayout" Target="../diagrams/layout1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9.emf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hyperlink" Target="../Box%20Sync/Customers/Logic/Logic%20MSB/D%20Workshop/What%20is%20a%20Columnar%20Database%20-%20YouTube_1nab.720p.mp4" TargetMode="External"/><Relationship Id="rId3" Type="http://schemas.openxmlformats.org/officeDocument/2006/relationships/tags" Target="../tags/tag51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image" Target="../media/image44.emf"/><Relationship Id="rId5" Type="http://schemas.openxmlformats.org/officeDocument/2006/relationships/tags" Target="../tags/tag53.xml"/><Relationship Id="rId10" Type="http://schemas.openxmlformats.org/officeDocument/2006/relationships/image" Target="../media/image43.emf"/><Relationship Id="rId4" Type="http://schemas.openxmlformats.org/officeDocument/2006/relationships/tags" Target="../tags/tag52.xml"/><Relationship Id="rId9" Type="http://schemas.openxmlformats.org/officeDocument/2006/relationships/image" Target="../media/image42.emf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5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43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37.png"/><Relationship Id="rId4" Type="http://schemas.openxmlformats.org/officeDocument/2006/relationships/image" Target="../media/image45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9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0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diagramLayout" Target="../diagrams/layout17.xml"/><Relationship Id="rId7" Type="http://schemas.openxmlformats.org/officeDocument/2006/relationships/image" Target="../media/image46.png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7.xml"/><Relationship Id="rId11" Type="http://schemas.openxmlformats.org/officeDocument/2006/relationships/image" Target="../media/image49.png"/><Relationship Id="rId5" Type="http://schemas.openxmlformats.org/officeDocument/2006/relationships/diagramColors" Target="../diagrams/colors17.xml"/><Relationship Id="rId10" Type="http://schemas.openxmlformats.org/officeDocument/2006/relationships/hyperlink" Target="http://l.yimg.com/g/images/goodies/white-flickr.png" TargetMode="External"/><Relationship Id="rId4" Type="http://schemas.openxmlformats.org/officeDocument/2006/relationships/diagramQuickStyle" Target="../diagrams/quickStyle17.xml"/><Relationship Id="rId9" Type="http://schemas.openxmlformats.org/officeDocument/2006/relationships/image" Target="../media/image48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0.xml"/><Relationship Id="rId5" Type="http://schemas.openxmlformats.org/officeDocument/2006/relationships/diagramColors" Target="../diagrams/colors20.xml"/><Relationship Id="rId4" Type="http://schemas.openxmlformats.org/officeDocument/2006/relationships/diagramQuickStyle" Target="../diagrams/quickStyle20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5.xml.rels><?xml version="1.0" encoding="UTF-8" standalone="yes"?>
<Relationships xmlns="http://schemas.openxmlformats.org/package/2006/relationships"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microsoft.com/office/2007/relationships/hdphoto" Target="../media/hdphoto1.wdp"/><Relationship Id="rId3" Type="http://schemas.openxmlformats.org/officeDocument/2006/relationships/tags" Target="../tags/tag64.xml"/><Relationship Id="rId21" Type="http://schemas.openxmlformats.org/officeDocument/2006/relationships/image" Target="../media/image21.png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13.png"/><Relationship Id="rId33" Type="http://schemas.openxmlformats.org/officeDocument/2006/relationships/image" Target="../media/image25.emf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image" Target="../media/image20.png"/><Relationship Id="rId29" Type="http://schemas.openxmlformats.org/officeDocument/2006/relationships/image" Target="../media/image16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24.png"/><Relationship Id="rId32" Type="http://schemas.openxmlformats.org/officeDocument/2006/relationships/image" Target="../media/image19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23.png"/><Relationship Id="rId28" Type="http://schemas.openxmlformats.org/officeDocument/2006/relationships/image" Target="../media/image15.png"/><Relationship Id="rId10" Type="http://schemas.openxmlformats.org/officeDocument/2006/relationships/tags" Target="../tags/tag71.xml"/><Relationship Id="rId19" Type="http://schemas.openxmlformats.org/officeDocument/2006/relationships/slideLayout" Target="../slideLayouts/slideLayout6.xml"/><Relationship Id="rId31" Type="http://schemas.openxmlformats.org/officeDocument/2006/relationships/image" Target="../media/image18.png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image" Target="../media/image22.png"/><Relationship Id="rId27" Type="http://schemas.openxmlformats.org/officeDocument/2006/relationships/image" Target="../media/image14.png"/><Relationship Id="rId30" Type="http://schemas.openxmlformats.org/officeDocument/2006/relationships/image" Target="../media/image17.png"/><Relationship Id="rId8" Type="http://schemas.openxmlformats.org/officeDocument/2006/relationships/tags" Target="../tags/tag69.xml"/></Relationships>
</file>

<file path=ppt/slides/_rels/slide96.xml.rels><?xml version="1.0" encoding="UTF-8" standalone="yes"?>
<Relationships xmlns="http://schemas.openxmlformats.org/package/2006/relationships"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26" Type="http://schemas.microsoft.com/office/2007/relationships/hdphoto" Target="../media/hdphoto1.wdp"/><Relationship Id="rId3" Type="http://schemas.openxmlformats.org/officeDocument/2006/relationships/tags" Target="../tags/tag82.xml"/><Relationship Id="rId21" Type="http://schemas.openxmlformats.org/officeDocument/2006/relationships/image" Target="../media/image21.png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image" Target="../media/image13.png"/><Relationship Id="rId33" Type="http://schemas.openxmlformats.org/officeDocument/2006/relationships/image" Target="../media/image25.emf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20" Type="http://schemas.openxmlformats.org/officeDocument/2006/relationships/image" Target="../media/image20.png"/><Relationship Id="rId29" Type="http://schemas.openxmlformats.org/officeDocument/2006/relationships/image" Target="../media/image16.png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image" Target="../media/image24.png"/><Relationship Id="rId32" Type="http://schemas.openxmlformats.org/officeDocument/2006/relationships/image" Target="../media/image19.png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23" Type="http://schemas.openxmlformats.org/officeDocument/2006/relationships/image" Target="../media/image23.png"/><Relationship Id="rId28" Type="http://schemas.openxmlformats.org/officeDocument/2006/relationships/image" Target="../media/image15.png"/><Relationship Id="rId10" Type="http://schemas.openxmlformats.org/officeDocument/2006/relationships/tags" Target="../tags/tag89.xml"/><Relationship Id="rId19" Type="http://schemas.openxmlformats.org/officeDocument/2006/relationships/slideLayout" Target="../slideLayouts/slideLayout6.xml"/><Relationship Id="rId31" Type="http://schemas.openxmlformats.org/officeDocument/2006/relationships/image" Target="../media/image18.png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Relationship Id="rId22" Type="http://schemas.openxmlformats.org/officeDocument/2006/relationships/image" Target="../media/image22.png"/><Relationship Id="rId27" Type="http://schemas.openxmlformats.org/officeDocument/2006/relationships/image" Target="../media/image14.png"/><Relationship Id="rId30" Type="http://schemas.openxmlformats.org/officeDocument/2006/relationships/image" Target="../media/image17.png"/><Relationship Id="rId8" Type="http://schemas.openxmlformats.org/officeDocument/2006/relationships/tags" Target="../tags/tag8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HAII – Datawarehouse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Oz Levi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3/18/2014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-892945" y="237115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65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460" y="3079116"/>
            <a:ext cx="8702040" cy="563562"/>
          </a:xfrm>
        </p:spPr>
        <p:txBody>
          <a:bodyPr/>
          <a:lstStyle/>
          <a:p>
            <a:r>
              <a:rPr lang="en-US" sz="3200" dirty="0" smtClean="0">
                <a:solidFill>
                  <a:srgbClr val="464646"/>
                </a:solidFill>
              </a:rPr>
              <a:t>What exactly is a Datawarehouse?</a:t>
            </a:r>
            <a:endParaRPr lang="en-US" sz="32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763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for usag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057839"/>
            <a:ext cx="8111322" cy="5179187"/>
          </a:xfrm>
        </p:spPr>
        <p:txBody>
          <a:bodyPr/>
          <a:lstStyle/>
          <a:p>
            <a:pPr marL="0" indent="0"/>
            <a:r>
              <a:rPr lang="en-US" sz="2400" dirty="0">
                <a:solidFill>
                  <a:schemeClr val="bg2"/>
                </a:solidFill>
              </a:rPr>
              <a:t>Cross-selling - Amazon.com</a:t>
            </a:r>
          </a:p>
          <a:p>
            <a:pPr marL="742950" lvl="1" indent="-457200"/>
            <a:r>
              <a:rPr lang="en-US" sz="2400" b="0" dirty="0" smtClean="0">
                <a:solidFill>
                  <a:schemeClr val="bg2"/>
                </a:solidFill>
              </a:rPr>
              <a:t>Association </a:t>
            </a:r>
            <a:r>
              <a:rPr lang="en-US" sz="2400" b="0" dirty="0">
                <a:solidFill>
                  <a:schemeClr val="bg2"/>
                </a:solidFill>
              </a:rPr>
              <a:t>Rules, Decision Trees</a:t>
            </a:r>
          </a:p>
          <a:p>
            <a:pPr marL="0" indent="0"/>
            <a:r>
              <a:rPr lang="en-US" sz="2400" dirty="0" smtClean="0">
                <a:solidFill>
                  <a:schemeClr val="bg2"/>
                </a:solidFill>
              </a:rPr>
              <a:t>Fraud </a:t>
            </a:r>
            <a:r>
              <a:rPr lang="en-US" sz="2400" dirty="0">
                <a:solidFill>
                  <a:schemeClr val="bg2"/>
                </a:solidFill>
              </a:rPr>
              <a:t>detection – banks</a:t>
            </a:r>
          </a:p>
          <a:p>
            <a:pPr marL="742950" lvl="1" indent="-457200"/>
            <a:r>
              <a:rPr lang="en-US" sz="2400" b="0" dirty="0" smtClean="0">
                <a:solidFill>
                  <a:schemeClr val="bg2"/>
                </a:solidFill>
              </a:rPr>
              <a:t>Clustering</a:t>
            </a:r>
            <a:endParaRPr lang="en-US" sz="2400" b="0" dirty="0">
              <a:solidFill>
                <a:schemeClr val="bg2"/>
              </a:solidFill>
            </a:endParaRPr>
          </a:p>
          <a:p>
            <a:pPr marL="0" indent="0"/>
            <a:r>
              <a:rPr lang="en-US" sz="2400" dirty="0" smtClean="0">
                <a:solidFill>
                  <a:schemeClr val="bg2"/>
                </a:solidFill>
              </a:rPr>
              <a:t>Know </a:t>
            </a:r>
            <a:r>
              <a:rPr lang="en-US" sz="2400" dirty="0">
                <a:solidFill>
                  <a:schemeClr val="bg2"/>
                </a:solidFill>
              </a:rPr>
              <a:t>your customers – CRM applications</a:t>
            </a:r>
          </a:p>
          <a:p>
            <a:pPr marL="742950" lvl="1" indent="-457200"/>
            <a:r>
              <a:rPr lang="en-US" sz="2400" b="0" dirty="0" smtClean="0">
                <a:solidFill>
                  <a:schemeClr val="bg2"/>
                </a:solidFill>
              </a:rPr>
              <a:t>Segmentation </a:t>
            </a:r>
            <a:r>
              <a:rPr lang="en-US" sz="2400" b="0" dirty="0">
                <a:solidFill>
                  <a:schemeClr val="bg2"/>
                </a:solidFill>
              </a:rPr>
              <a:t>with Clustering, Decision Trees...</a:t>
            </a:r>
          </a:p>
          <a:p>
            <a:pPr marL="0" indent="0"/>
            <a:r>
              <a:rPr lang="en-US" sz="2400" dirty="0" smtClean="0">
                <a:solidFill>
                  <a:schemeClr val="bg2"/>
                </a:solidFill>
              </a:rPr>
              <a:t>How </a:t>
            </a:r>
            <a:r>
              <a:rPr lang="en-US" sz="2400" dirty="0">
                <a:solidFill>
                  <a:schemeClr val="bg2"/>
                </a:solidFill>
              </a:rPr>
              <a:t>is your Web site </a:t>
            </a:r>
            <a:r>
              <a:rPr lang="en-US" sz="2400" dirty="0" smtClean="0">
                <a:solidFill>
                  <a:schemeClr val="bg2"/>
                </a:solidFill>
              </a:rPr>
              <a:t>used</a:t>
            </a:r>
            <a:endParaRPr lang="en-US" sz="2400" dirty="0">
              <a:solidFill>
                <a:schemeClr val="bg2"/>
              </a:solidFill>
            </a:endParaRPr>
          </a:p>
          <a:p>
            <a:pPr marL="742950" lvl="1" indent="-457200"/>
            <a:r>
              <a:rPr lang="en-US" sz="2400" b="0" dirty="0" smtClean="0">
                <a:solidFill>
                  <a:schemeClr val="bg2"/>
                </a:solidFill>
              </a:rPr>
              <a:t>Sequence Clustering</a:t>
            </a:r>
          </a:p>
          <a:p>
            <a:pPr marL="457200" indent="-457200"/>
            <a:r>
              <a:rPr lang="en-US" sz="2400" dirty="0" smtClean="0">
                <a:solidFill>
                  <a:schemeClr val="bg2"/>
                </a:solidFill>
              </a:rPr>
              <a:t>Forecasting </a:t>
            </a:r>
            <a:r>
              <a:rPr lang="en-US" sz="2400" dirty="0">
                <a:solidFill>
                  <a:schemeClr val="bg2"/>
                </a:solidFill>
              </a:rPr>
              <a:t>– nearly any business</a:t>
            </a:r>
          </a:p>
          <a:p>
            <a:pPr marL="742950" lvl="1" indent="-457200"/>
            <a:r>
              <a:rPr lang="en-US" sz="2400" b="0" dirty="0" smtClean="0">
                <a:solidFill>
                  <a:schemeClr val="bg2"/>
                </a:solidFill>
              </a:rPr>
              <a:t>Time </a:t>
            </a:r>
            <a:r>
              <a:rPr lang="en-US" sz="2400" b="0" dirty="0">
                <a:solidFill>
                  <a:schemeClr val="bg2"/>
                </a:solidFill>
              </a:rPr>
              <a:t>Series</a:t>
            </a:r>
          </a:p>
          <a:p>
            <a:pPr marL="628650" lvl="1" indent="-342900"/>
            <a:endParaRPr lang="en-US" sz="2400" dirty="0"/>
          </a:p>
          <a:p>
            <a:pPr marL="628650" lvl="1" indent="-342900"/>
            <a:endParaRPr lang="en-US" sz="2400" b="0" dirty="0">
              <a:solidFill>
                <a:schemeClr val="bg2"/>
              </a:solidFill>
            </a:endParaRPr>
          </a:p>
          <a:p>
            <a:pPr marL="342900" indent="-342900"/>
            <a:endParaRPr lang="en-US" sz="24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can data mining do?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1578978" y="1951732"/>
            <a:ext cx="2878722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>
                <a:solidFill>
                  <a:schemeClr val="lt1">
                    <a:alpha val="99000"/>
                  </a:schemeClr>
                </a:solidFill>
              </a:rPr>
              <a:t>Directed data </a:t>
            </a:r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mining</a:t>
            </a:r>
          </a:p>
          <a:p>
            <a:pPr algn="ctr" defTabSz="914023"/>
            <a:r>
              <a:rPr lang="en-US" sz="1200" dirty="0" smtClean="0">
                <a:solidFill>
                  <a:schemeClr val="lt1">
                    <a:alpha val="99000"/>
                  </a:schemeClr>
                </a:solidFill>
              </a:rPr>
              <a:t>(Supervised Learning)</a:t>
            </a:r>
            <a:endParaRPr lang="en-US" sz="12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4512861" y="1951731"/>
            <a:ext cx="2878722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>
                <a:solidFill>
                  <a:schemeClr val="lt1">
                    <a:alpha val="99000"/>
                  </a:schemeClr>
                </a:solidFill>
              </a:rPr>
              <a:t>Undirected data </a:t>
            </a:r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mining</a:t>
            </a:r>
          </a:p>
          <a:p>
            <a:pPr algn="ctr" defTabSz="914023"/>
            <a:r>
              <a:rPr lang="en-US" sz="1200" dirty="0" smtClean="0">
                <a:solidFill>
                  <a:schemeClr val="lt1">
                    <a:alpha val="99000"/>
                  </a:schemeClr>
                </a:solidFill>
              </a:rPr>
              <a:t>(Unsupervised </a:t>
            </a:r>
            <a:r>
              <a:rPr lang="en-US" sz="1200" dirty="0">
                <a:solidFill>
                  <a:schemeClr val="lt1">
                    <a:alpha val="99000"/>
                  </a:schemeClr>
                </a:solidFill>
              </a:rPr>
              <a:t>Learning</a:t>
            </a:r>
            <a:r>
              <a:rPr lang="en-US" sz="1200" dirty="0" smtClean="0">
                <a:solidFill>
                  <a:schemeClr val="lt1">
                    <a:alpha val="99000"/>
                  </a:schemeClr>
                </a:solidFill>
              </a:rPr>
              <a:t>)</a:t>
            </a:r>
            <a:endParaRPr lang="en-US" sz="12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578978" y="3924138"/>
            <a:ext cx="2878722" cy="1074452"/>
          </a:xfrm>
          <a:prstGeom prst="rect">
            <a:avLst/>
          </a:prstGeom>
          <a:solidFill>
            <a:srgbClr val="7D7D7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marL="62865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Classification</a:t>
            </a:r>
          </a:p>
          <a:p>
            <a:pPr marL="62865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Prediction</a:t>
            </a:r>
          </a:p>
          <a:p>
            <a:pPr marL="62865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Estimation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4512861" y="3924138"/>
            <a:ext cx="2878722" cy="1074452"/>
          </a:xfrm>
          <a:prstGeom prst="rect">
            <a:avLst/>
          </a:prstGeom>
          <a:solidFill>
            <a:srgbClr val="7D7D7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marL="628650" lvl="1" indent="-342900">
              <a:buFont typeface="Arial" panose="020B0604020202020204" pitchFamily="34" charset="0"/>
              <a:buChar char="•"/>
            </a:pPr>
            <a:r>
              <a:rPr lang="en-US" sz="1600" dirty="0" smtClean="0"/>
              <a:t>Affinity grouping</a:t>
            </a:r>
            <a:endParaRPr lang="en-US" sz="1600" dirty="0"/>
          </a:p>
          <a:p>
            <a:pPr marL="62865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Clustering</a:t>
            </a:r>
          </a:p>
          <a:p>
            <a:pPr marL="62865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Description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578978" y="3222463"/>
            <a:ext cx="2878722" cy="658527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1600" dirty="0" smtClean="0">
                <a:solidFill>
                  <a:schemeClr val="lt1">
                    <a:alpha val="99000"/>
                  </a:schemeClr>
                </a:solidFill>
              </a:rPr>
              <a:t>We know what we are looking for</a:t>
            </a:r>
            <a:endParaRPr lang="en-US" sz="16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512861" y="3231826"/>
            <a:ext cx="2878722" cy="658527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1600" dirty="0" smtClean="0">
                <a:solidFill>
                  <a:schemeClr val="lt1">
                    <a:alpha val="99000"/>
                  </a:schemeClr>
                </a:solidFill>
              </a:rPr>
              <a:t>We </a:t>
            </a:r>
            <a:r>
              <a:rPr lang="en-US" sz="1600" b="1" dirty="0" smtClean="0">
                <a:solidFill>
                  <a:schemeClr val="lt1">
                    <a:alpha val="99000"/>
                  </a:schemeClr>
                </a:solidFill>
              </a:rPr>
              <a:t>don’t</a:t>
            </a:r>
            <a:r>
              <a:rPr lang="en-US" sz="1600" dirty="0" smtClean="0">
                <a:solidFill>
                  <a:schemeClr val="lt1">
                    <a:alpha val="99000"/>
                  </a:schemeClr>
                </a:solidFill>
              </a:rPr>
              <a:t> know what we are looking for</a:t>
            </a:r>
            <a:endParaRPr lang="en-US" sz="16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12" name="Up Arrow 11"/>
          <p:cNvSpPr/>
          <p:nvPr/>
        </p:nvSpPr>
        <p:spPr>
          <a:xfrm>
            <a:off x="7446744" y="1951732"/>
            <a:ext cx="704850" cy="304685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Up Arrow 12"/>
          <p:cNvSpPr/>
          <p:nvPr/>
        </p:nvSpPr>
        <p:spPr>
          <a:xfrm rot="10800000">
            <a:off x="818967" y="1951732"/>
            <a:ext cx="704850" cy="304685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752847" y="5048875"/>
            <a:ext cx="83708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/>
              <a:t>Top</a:t>
            </a:r>
          </a:p>
          <a:p>
            <a:pPr algn="ctr"/>
            <a:r>
              <a:rPr lang="en-US" dirty="0" smtClean="0"/>
              <a:t>Down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7350564" y="5048874"/>
            <a:ext cx="10294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/>
              <a:t>Bottom</a:t>
            </a:r>
          </a:p>
          <a:p>
            <a:pPr algn="ctr"/>
            <a:r>
              <a:rPr lang="en-US" dirty="0" smtClean="0"/>
              <a:t>U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91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10" grpId="0" animBg="1"/>
      <p:bldP spid="11" grpId="0" animBg="1"/>
      <p:bldP spid="12" grpId="0" animBg="1"/>
      <p:bldP spid="13" grpId="0" animBg="1"/>
      <p:bldP spid="14" grpId="0"/>
      <p:bldP spid="15" grpId="0"/>
    </p:bld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DD Methodology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364" y="1020152"/>
            <a:ext cx="7314030" cy="1635600"/>
          </a:xfrm>
          <a:prstGeom prst="rect">
            <a:avLst/>
          </a:prstGeom>
        </p:spPr>
      </p:pic>
      <p:sp>
        <p:nvSpPr>
          <p:cNvPr id="4" name="Content Placeholder 2"/>
          <p:cNvSpPr txBox="1">
            <a:spLocks/>
          </p:cNvSpPr>
          <p:nvPr/>
        </p:nvSpPr>
        <p:spPr>
          <a:xfrm>
            <a:off x="199888" y="2546568"/>
            <a:ext cx="8944112" cy="387598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28650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73138" indent="-331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58888" indent="-24923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43050" indent="-2730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300" b="0" dirty="0">
                <a:solidFill>
                  <a:schemeClr val="bg2"/>
                </a:solidFill>
              </a:rPr>
              <a:t>Business problems, </a:t>
            </a:r>
            <a:r>
              <a:rPr lang="en-US" sz="1300" b="0" dirty="0" smtClean="0">
                <a:solidFill>
                  <a:schemeClr val="bg2"/>
                </a:solidFill>
              </a:rPr>
              <a:t>Goals</a:t>
            </a:r>
            <a:endParaRPr lang="en-US" sz="1300" b="0" dirty="0">
              <a:solidFill>
                <a:schemeClr val="bg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300" b="0" dirty="0">
                <a:solidFill>
                  <a:schemeClr val="bg2"/>
                </a:solidFill>
              </a:rPr>
              <a:t>Data selection, acquisition, integr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0" dirty="0">
                <a:solidFill>
                  <a:schemeClr val="bg2"/>
                </a:solidFill>
              </a:rPr>
              <a:t>Data </a:t>
            </a:r>
            <a:r>
              <a:rPr lang="en-US" sz="1300" b="0" dirty="0" smtClean="0">
                <a:solidFill>
                  <a:schemeClr val="bg2"/>
                </a:solidFill>
              </a:rPr>
              <a:t>cleaning</a:t>
            </a:r>
          </a:p>
          <a:p>
            <a:pPr marL="914400" lvl="1" indent="-285750"/>
            <a:r>
              <a:rPr lang="fr-FR" sz="1300" b="0" dirty="0" smtClean="0">
                <a:solidFill>
                  <a:schemeClr val="bg2"/>
                </a:solidFill>
              </a:rPr>
              <a:t>noise</a:t>
            </a:r>
            <a:r>
              <a:rPr lang="fr-FR" sz="1300" b="0" dirty="0">
                <a:solidFill>
                  <a:schemeClr val="bg2"/>
                </a:solidFill>
              </a:rPr>
              <a:t>, </a:t>
            </a:r>
            <a:r>
              <a:rPr lang="fr-FR" sz="1300" dirty="0" err="1" smtClean="0"/>
              <a:t>missing</a:t>
            </a:r>
            <a:r>
              <a:rPr lang="fr-FR" sz="1300" dirty="0" smtClean="0"/>
              <a:t> </a:t>
            </a:r>
            <a:r>
              <a:rPr lang="fr-FR" sz="1300" b="0" dirty="0" smtClean="0">
                <a:solidFill>
                  <a:schemeClr val="bg2"/>
                </a:solidFill>
              </a:rPr>
              <a:t>data</a:t>
            </a:r>
            <a:r>
              <a:rPr lang="fr-FR" sz="1300" b="0" dirty="0">
                <a:solidFill>
                  <a:schemeClr val="bg2"/>
                </a:solidFill>
              </a:rPr>
              <a:t>, </a:t>
            </a:r>
            <a:r>
              <a:rPr lang="fr-FR" sz="1300" b="0" dirty="0" err="1" smtClean="0">
                <a:solidFill>
                  <a:schemeClr val="bg2"/>
                </a:solidFill>
              </a:rPr>
              <a:t>outliers</a:t>
            </a:r>
            <a:r>
              <a:rPr lang="fr-FR" sz="1300" b="0" dirty="0">
                <a:solidFill>
                  <a:schemeClr val="bg2"/>
                </a:solidFill>
              </a:rPr>
              <a:t>, etc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0" dirty="0">
                <a:solidFill>
                  <a:schemeClr val="bg2"/>
                </a:solidFill>
              </a:rPr>
              <a:t>Exploratory data analysis</a:t>
            </a:r>
          </a:p>
          <a:p>
            <a:pPr marL="914400" lvl="1" indent="-285750"/>
            <a:r>
              <a:rPr lang="en-US" sz="1300" b="0" dirty="0">
                <a:solidFill>
                  <a:schemeClr val="bg2"/>
                </a:solidFill>
              </a:rPr>
              <a:t>dimensionality reduction, transformation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0" dirty="0" smtClean="0">
                <a:solidFill>
                  <a:schemeClr val="bg2"/>
                </a:solidFill>
              </a:rPr>
              <a:t>Data mining</a:t>
            </a:r>
          </a:p>
          <a:p>
            <a:pPr marL="971550" lvl="1" indent="-342900"/>
            <a:r>
              <a:rPr lang="en-US" sz="1300" b="0" dirty="0" smtClean="0">
                <a:solidFill>
                  <a:schemeClr val="bg2"/>
                </a:solidFill>
              </a:rPr>
              <a:t>Selecting appropriate method that match set goals (classification, regression, clustering, etc.)</a:t>
            </a:r>
          </a:p>
          <a:p>
            <a:pPr marL="971550" lvl="1" indent="-342900"/>
            <a:r>
              <a:rPr lang="en-US" sz="1300" b="0" dirty="0" smtClean="0">
                <a:solidFill>
                  <a:schemeClr val="bg2"/>
                </a:solidFill>
              </a:rPr>
              <a:t>selecting algorithm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0" dirty="0" smtClean="0">
                <a:solidFill>
                  <a:schemeClr val="bg2"/>
                </a:solidFill>
              </a:rPr>
              <a:t>Testing and verific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0" dirty="0" smtClean="0">
                <a:solidFill>
                  <a:schemeClr val="bg2"/>
                </a:solidFill>
              </a:rPr>
              <a:t>Interpret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b="0" dirty="0" smtClean="0">
                <a:solidFill>
                  <a:schemeClr val="bg2"/>
                </a:solidFill>
              </a:rPr>
              <a:t>Consolidation and use</a:t>
            </a:r>
            <a:endParaRPr lang="en-US" sz="13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01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400" dirty="0" smtClean="0"/>
              <a:t>Thank You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70864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data integ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571500" lvl="1" indent="-285750"/>
            <a:r>
              <a:rPr lang="en-US" dirty="0" smtClean="0"/>
              <a:t>“A data warehouse is a system that </a:t>
            </a:r>
            <a:r>
              <a:rPr lang="en-US" b="1" dirty="0" smtClean="0"/>
              <a:t>extracts, cleans conform and delivers </a:t>
            </a:r>
            <a:r>
              <a:rPr lang="en-US" dirty="0" smtClean="0"/>
              <a:t>source data in a dimensional data store and then supports and implements </a:t>
            </a:r>
            <a:r>
              <a:rPr lang="en-US" b="1" dirty="0" smtClean="0"/>
              <a:t>querying and analysis </a:t>
            </a:r>
            <a:r>
              <a:rPr lang="en-US" dirty="0" smtClean="0"/>
              <a:t>for the purpose of decision making”</a:t>
            </a:r>
          </a:p>
          <a:p>
            <a:pPr marL="285750" lvl="1" indent="0"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Ralph Kimball 2004</a:t>
            </a:r>
          </a:p>
        </p:txBody>
      </p:sp>
    </p:spTree>
    <p:extLst>
      <p:ext uri="{BB962C8B-B14F-4D97-AF65-F5344CB8AC3E}">
        <p14:creationId xmlns:p14="http://schemas.microsoft.com/office/powerpoint/2010/main" val="1601314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34171"/>
            <a:ext cx="8123238" cy="563562"/>
          </a:xfrm>
        </p:spPr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Tiers of the classical Datawarehouse ecosystem</a:t>
            </a:r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2095248" y="1028818"/>
            <a:ext cx="1439174" cy="5308575"/>
            <a:chOff x="2233006" y="980728"/>
            <a:chExt cx="1439174" cy="5308575"/>
          </a:xfrm>
        </p:grpSpPr>
        <p:sp>
          <p:nvSpPr>
            <p:cNvPr id="20" name="Rectangle 19"/>
            <p:cNvSpPr/>
            <p:nvPr>
              <p:custDataLst>
                <p:tags r:id="rId17"/>
              </p:custDataLst>
            </p:nvPr>
          </p:nvSpPr>
          <p:spPr bwMode="auto">
            <a:xfrm>
              <a:off x="2233006" y="1469410"/>
              <a:ext cx="1437631" cy="48198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20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21" name="Rectangle 20"/>
            <p:cNvSpPr/>
            <p:nvPr>
              <p:custDataLst>
                <p:tags r:id="rId18"/>
              </p:custDataLst>
            </p:nvPr>
          </p:nvSpPr>
          <p:spPr bwMode="auto">
            <a:xfrm>
              <a:off x="2233992" y="980728"/>
              <a:ext cx="1438188" cy="502722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Staging</a:t>
              </a:r>
            </a:p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Integration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0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colorTemperature colorTemp="112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329018" y="3025974"/>
              <a:ext cx="1306878" cy="1568350"/>
            </a:xfrm>
            <a:prstGeom prst="rect">
              <a:avLst/>
            </a:prstGeom>
          </p:spPr>
        </p:pic>
      </p:grpSp>
      <p:grpSp>
        <p:nvGrpSpPr>
          <p:cNvPr id="23" name="Group 22"/>
          <p:cNvGrpSpPr/>
          <p:nvPr/>
        </p:nvGrpSpPr>
        <p:grpSpPr>
          <a:xfrm>
            <a:off x="910134" y="1019420"/>
            <a:ext cx="1107244" cy="5310237"/>
            <a:chOff x="1115616" y="980728"/>
            <a:chExt cx="1107244" cy="5310237"/>
          </a:xfrm>
        </p:grpSpPr>
        <p:sp>
          <p:nvSpPr>
            <p:cNvPr id="24" name="Rectangle 23"/>
            <p:cNvSpPr/>
            <p:nvPr>
              <p:custDataLst>
                <p:tags r:id="rId11"/>
              </p:custDataLst>
            </p:nvPr>
          </p:nvSpPr>
          <p:spPr bwMode="auto">
            <a:xfrm>
              <a:off x="1115884" y="1471072"/>
              <a:ext cx="1106975" cy="48198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20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12"/>
              </p:custDataLst>
            </p:nvPr>
          </p:nvSpPr>
          <p:spPr>
            <a:xfrm>
              <a:off x="1313890" y="1520699"/>
              <a:ext cx="774827" cy="2769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Servers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26" name="Picture 9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6971" y="1767271"/>
              <a:ext cx="304961" cy="60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" name="Picture 6" descr="\\MAGNUM\Projects\Microsoft\Cloud Power FY12\Design\ICONS_PNG\Cloud.png"/>
            <p:cNvPicPr>
              <a:picLocks noChangeAspect="1" noChangeArrowheads="1"/>
            </p:cNvPicPr>
            <p:nvPr/>
          </p:nvPicPr>
          <p:blipFill rotWithShape="1">
            <a:blip r:embed="rId23" cstate="print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8577" b="17361"/>
            <a:stretch/>
          </p:blipFill>
          <p:spPr bwMode="auto">
            <a:xfrm>
              <a:off x="1194368" y="3710442"/>
              <a:ext cx="1003996" cy="605351"/>
            </a:xfrm>
            <a:prstGeom prst="rect">
              <a:avLst/>
            </a:prstGeom>
            <a:noFill/>
          </p:spPr>
        </p:pic>
        <p:sp>
          <p:nvSpPr>
            <p:cNvPr id="28" name="TextBox 27"/>
            <p:cNvSpPr txBox="1"/>
            <p:nvPr>
              <p:custDataLst>
                <p:tags r:id="rId14"/>
              </p:custDataLst>
            </p:nvPr>
          </p:nvSpPr>
          <p:spPr>
            <a:xfrm>
              <a:off x="1152886" y="3288993"/>
              <a:ext cx="1069973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Cloud \ Web </a:t>
              </a:r>
            </a:p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Services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1472584" y="2755214"/>
              <a:ext cx="420462" cy="403644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>
              <p:custDataLst>
                <p:tags r:id="rId15"/>
              </p:custDataLst>
            </p:nvPr>
          </p:nvSpPr>
          <p:spPr>
            <a:xfrm>
              <a:off x="1269655" y="2331192"/>
              <a:ext cx="902875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Flat files &amp;</a:t>
              </a:r>
            </a:p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Excel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336863" y="4362110"/>
              <a:ext cx="611065" cy="842607"/>
              <a:chOff x="2152157" y="3113822"/>
              <a:chExt cx="611065" cy="842607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2257637" y="3461165"/>
                <a:ext cx="392996" cy="394180"/>
              </a:xfrm>
              <a:prstGeom prst="rect">
                <a:avLst/>
              </a:prstGeom>
            </p:spPr>
          </p:pic>
          <p:sp>
            <p:nvSpPr>
              <p:cNvPr id="34" name="Rectangle 33"/>
              <p:cNvSpPr/>
              <p:nvPr/>
            </p:nvSpPr>
            <p:spPr bwMode="auto">
              <a:xfrm>
                <a:off x="2157397" y="3370516"/>
                <a:ext cx="555599" cy="585913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TextBox 34"/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2152157" y="3113822"/>
                <a:ext cx="611065" cy="276999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>
                        <a:alpha val="99000"/>
                      </a:schemeClr>
                    </a:solidFill>
                  </a:rPr>
                  <a:t>F</a:t>
                </a:r>
                <a:r>
                  <a:rPr lang="en-US" sz="1200" dirty="0" smtClean="0">
                    <a:solidFill>
                      <a:schemeClr val="bg1">
                        <a:alpha val="99000"/>
                      </a:schemeClr>
                    </a:solidFill>
                  </a:rPr>
                  <a:t>eeds</a:t>
                </a:r>
              </a:p>
            </p:txBody>
          </p:sp>
        </p:grpSp>
        <p:sp>
          <p:nvSpPr>
            <p:cNvPr id="32" name="Rectangle 31"/>
            <p:cNvSpPr/>
            <p:nvPr/>
          </p:nvSpPr>
          <p:spPr bwMode="auto">
            <a:xfrm>
              <a:off x="1115616" y="980728"/>
              <a:ext cx="1107244" cy="502920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Data</a:t>
              </a:r>
            </a:p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Sources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230614" y="1034182"/>
            <a:ext cx="1553176" cy="5310236"/>
            <a:chOff x="5158606" y="962929"/>
            <a:chExt cx="1553176" cy="5310236"/>
          </a:xfrm>
        </p:grpSpPr>
        <p:sp>
          <p:nvSpPr>
            <p:cNvPr id="37" name="Rectangle 36"/>
            <p:cNvSpPr/>
            <p:nvPr>
              <p:custDataLst>
                <p:tags r:id="rId9"/>
              </p:custDataLst>
            </p:nvPr>
          </p:nvSpPr>
          <p:spPr bwMode="auto">
            <a:xfrm>
              <a:off x="5158606" y="1453272"/>
              <a:ext cx="1553176" cy="48198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14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38" name="Rectangle 37"/>
            <p:cNvSpPr/>
            <p:nvPr>
              <p:custDataLst>
                <p:tags r:id="rId10"/>
              </p:custDataLst>
            </p:nvPr>
          </p:nvSpPr>
          <p:spPr bwMode="auto">
            <a:xfrm>
              <a:off x="5160578" y="962929"/>
              <a:ext cx="1551204" cy="496956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Analysis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5529194" y="3105202"/>
              <a:ext cx="805545" cy="844292"/>
            </a:xfrm>
            <a:prstGeom prst="rect">
              <a:avLst/>
            </a:prstGeom>
          </p:spPr>
        </p:pic>
        <p:grpSp>
          <p:nvGrpSpPr>
            <p:cNvPr id="40" name="Group 39"/>
            <p:cNvGrpSpPr/>
            <p:nvPr/>
          </p:nvGrpSpPr>
          <p:grpSpPr>
            <a:xfrm>
              <a:off x="5501261" y="4389711"/>
              <a:ext cx="781117" cy="785593"/>
              <a:chOff x="5436096" y="3895725"/>
              <a:chExt cx="781117" cy="785593"/>
            </a:xfrm>
          </p:grpSpPr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5484283" y="3938991"/>
                <a:ext cx="732930" cy="742327"/>
              </a:xfrm>
              <a:prstGeom prst="rect">
                <a:avLst/>
              </a:prstGeom>
            </p:spPr>
          </p:pic>
          <p:sp>
            <p:nvSpPr>
              <p:cNvPr id="44" name="Rectangle 43"/>
              <p:cNvSpPr/>
              <p:nvPr/>
            </p:nvSpPr>
            <p:spPr bwMode="auto">
              <a:xfrm>
                <a:off x="5436096" y="3895725"/>
                <a:ext cx="781117" cy="785593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1" name="Rectangle 40"/>
            <p:cNvSpPr/>
            <p:nvPr/>
          </p:nvSpPr>
          <p:spPr>
            <a:xfrm>
              <a:off x="5631476" y="2855926"/>
              <a:ext cx="5625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OLAP</a:t>
              </a:r>
              <a:endParaRPr lang="he-IL" sz="1200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5385911" y="4128573"/>
              <a:ext cx="101181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Data Mining</a:t>
              </a:r>
              <a:endParaRPr lang="he-IL" sz="1200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3605430" y="1028818"/>
            <a:ext cx="1624184" cy="5315600"/>
            <a:chOff x="3533422" y="957565"/>
            <a:chExt cx="1624184" cy="5315600"/>
          </a:xfrm>
        </p:grpSpPr>
        <p:grpSp>
          <p:nvGrpSpPr>
            <p:cNvPr id="46" name="Group 45"/>
            <p:cNvGrpSpPr/>
            <p:nvPr/>
          </p:nvGrpSpPr>
          <p:grpSpPr>
            <a:xfrm>
              <a:off x="3533422" y="957565"/>
              <a:ext cx="1553176" cy="5315600"/>
              <a:chOff x="3681340" y="980728"/>
              <a:chExt cx="1553176" cy="5315600"/>
            </a:xfrm>
          </p:grpSpPr>
          <p:sp>
            <p:nvSpPr>
              <p:cNvPr id="52" name="Rectangle 51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3681340" y="1476435"/>
                <a:ext cx="1553176" cy="4819893"/>
              </a:xfrm>
              <a:prstGeom prst="rect">
                <a:avLst/>
              </a:prstGeom>
              <a:solidFill>
                <a:srgbClr val="46464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91440" tIns="45718" rIns="91440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23"/>
                <a:endParaRPr lang="en-US" sz="2000" dirty="0">
                  <a:solidFill>
                    <a:schemeClr val="bg1">
                      <a:alpha val="99000"/>
                    </a:schemeClr>
                  </a:solidFill>
                </a:endParaRPr>
              </a:p>
            </p:txBody>
          </p:sp>
          <p:sp>
            <p:nvSpPr>
              <p:cNvPr id="53" name="Rectangle 52"/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3683312" y="980728"/>
                <a:ext cx="1551204" cy="502722"/>
              </a:xfrm>
              <a:prstGeom prst="rect">
                <a:avLst/>
              </a:prstGeom>
              <a:solidFill>
                <a:srgbClr val="ED193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91440" tIns="45718" rIns="91440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23"/>
                <a:r>
                  <a:rPr lang="en-US" sz="1600" dirty="0" smtClean="0">
                    <a:solidFill>
                      <a:schemeClr val="bg1">
                        <a:alpha val="99000"/>
                      </a:schemeClr>
                    </a:solidFill>
                  </a:rPr>
                  <a:t>DWH</a:t>
                </a:r>
              </a:p>
            </p:txBody>
          </p:sp>
          <p:pic>
            <p:nvPicPr>
              <p:cNvPr id="54" name="Picture 9"/>
              <p:cNvPicPr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3814" y="3070583"/>
                <a:ext cx="729378" cy="144781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5" name="Picture 9"/>
              <p:cNvPicPr>
                <a:picLocks noChangeAspect="1" noChangeArrowheads="1"/>
              </p:cNvPicPr>
              <p:nvPr>
                <p:custDataLst>
                  <p:tags r:id="rId6"/>
                </p:custDataLst>
              </p:nvPr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47910" y="2420888"/>
                <a:ext cx="393368" cy="7808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6" name="Picture 9"/>
              <p:cNvPicPr>
                <a:picLocks noChangeAspect="1" noChangeArrowheads="1"/>
              </p:cNvPicPr>
              <p:nvPr>
                <p:custDataLst>
                  <p:tags r:id="rId7"/>
                </p:custDataLst>
              </p:nvPr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27683" y="3347129"/>
                <a:ext cx="429644" cy="8528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7" name="Picture 9"/>
              <p:cNvPicPr>
                <a:picLocks noChangeAspect="1" noChangeArrowheads="1"/>
              </p:cNvPicPr>
              <p:nvPr>
                <p:custDataLst>
                  <p:tags r:id="rId8"/>
                </p:custDataLst>
              </p:nvPr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25554" y="4345378"/>
                <a:ext cx="429644" cy="8528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47" name="Rectangle 46"/>
            <p:cNvSpPr/>
            <p:nvPr/>
          </p:nvSpPr>
          <p:spPr>
            <a:xfrm>
              <a:off x="3607146" y="2744005"/>
              <a:ext cx="7360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DWH</a:t>
              </a:r>
              <a:endParaRPr lang="he-IL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4221132" y="2175378"/>
              <a:ext cx="93647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Data Marts</a:t>
              </a:r>
              <a:endParaRPr lang="he-IL" sz="1200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930192" y="3118673"/>
            <a:ext cx="5853598" cy="1500515"/>
            <a:chOff x="838126" y="2771579"/>
            <a:chExt cx="5923141" cy="1500515"/>
          </a:xfrm>
        </p:grpSpPr>
        <p:sp>
          <p:nvSpPr>
            <p:cNvPr id="59" name="Right Arrow 58"/>
            <p:cNvSpPr/>
            <p:nvPr/>
          </p:nvSpPr>
          <p:spPr>
            <a:xfrm rot="10800000" flipH="1">
              <a:off x="838126" y="2771579"/>
              <a:ext cx="5923141" cy="1500515"/>
            </a:xfrm>
            <a:prstGeom prst="rightArrow">
              <a:avLst/>
            </a:prstGeom>
            <a:solidFill>
              <a:srgbClr val="880A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1693937" y="3140968"/>
              <a:ext cx="2953169" cy="767607"/>
              <a:chOff x="1693937" y="3140968"/>
              <a:chExt cx="2953169" cy="767607"/>
            </a:xfrm>
          </p:grpSpPr>
          <p:grpSp>
            <p:nvGrpSpPr>
              <p:cNvPr id="61" name="Group 60"/>
              <p:cNvGrpSpPr/>
              <p:nvPr/>
            </p:nvGrpSpPr>
            <p:grpSpPr>
              <a:xfrm>
                <a:off x="1693937" y="3140968"/>
                <a:ext cx="754619" cy="767607"/>
                <a:chOff x="2780429" y="1227668"/>
                <a:chExt cx="4276132" cy="4522708"/>
              </a:xfrm>
              <a:solidFill>
                <a:schemeClr val="bg1"/>
              </a:solidFill>
            </p:grpSpPr>
            <p:sp>
              <p:nvSpPr>
                <p:cNvPr id="63" name="Freeform 62"/>
                <p:cNvSpPr/>
                <p:nvPr/>
              </p:nvSpPr>
              <p:spPr>
                <a:xfrm>
                  <a:off x="4368800" y="3225800"/>
                  <a:ext cx="2235200" cy="2235200"/>
                </a:xfrm>
                <a:custGeom>
                  <a:avLst/>
                  <a:gdLst>
                    <a:gd name="connsiteX0" fmla="*/ 1586555 w 2235200"/>
                    <a:gd name="connsiteY0" fmla="*/ 356377 h 2235200"/>
                    <a:gd name="connsiteX1" fmla="*/ 1760418 w 2235200"/>
                    <a:gd name="connsiteY1" fmla="*/ 210481 h 2235200"/>
                    <a:gd name="connsiteX2" fmla="*/ 1899314 w 2235200"/>
                    <a:gd name="connsiteY2" fmla="*/ 327029 h 2235200"/>
                    <a:gd name="connsiteX3" fmla="*/ 1785825 w 2235200"/>
                    <a:gd name="connsiteY3" fmla="*/ 523585 h 2235200"/>
                    <a:gd name="connsiteX4" fmla="*/ 1966144 w 2235200"/>
                    <a:gd name="connsiteY4" fmla="*/ 835907 h 2235200"/>
                    <a:gd name="connsiteX5" fmla="*/ 2193112 w 2235200"/>
                    <a:gd name="connsiteY5" fmla="*/ 835901 h 2235200"/>
                    <a:gd name="connsiteX6" fmla="*/ 2224597 w 2235200"/>
                    <a:gd name="connsiteY6" fmla="*/ 1014463 h 2235200"/>
                    <a:gd name="connsiteX7" fmla="*/ 2011316 w 2235200"/>
                    <a:gd name="connsiteY7" fmla="*/ 1092085 h 2235200"/>
                    <a:gd name="connsiteX8" fmla="*/ 1948692 w 2235200"/>
                    <a:gd name="connsiteY8" fmla="*/ 1447245 h 2235200"/>
                    <a:gd name="connsiteX9" fmla="*/ 2122562 w 2235200"/>
                    <a:gd name="connsiteY9" fmla="*/ 1593132 h 2235200"/>
                    <a:gd name="connsiteX10" fmla="*/ 2031904 w 2235200"/>
                    <a:gd name="connsiteY10" fmla="*/ 1750157 h 2235200"/>
                    <a:gd name="connsiteX11" fmla="*/ 1818627 w 2235200"/>
                    <a:gd name="connsiteY11" fmla="*/ 1672524 h 2235200"/>
                    <a:gd name="connsiteX12" fmla="*/ 1542362 w 2235200"/>
                    <a:gd name="connsiteY12" fmla="*/ 1904338 h 2235200"/>
                    <a:gd name="connsiteX13" fmla="*/ 1581780 w 2235200"/>
                    <a:gd name="connsiteY13" fmla="*/ 2127856 h 2235200"/>
                    <a:gd name="connsiteX14" fmla="*/ 1411398 w 2235200"/>
                    <a:gd name="connsiteY14" fmla="*/ 2189870 h 2235200"/>
                    <a:gd name="connsiteX15" fmla="*/ 1297919 w 2235200"/>
                    <a:gd name="connsiteY15" fmla="*/ 1993308 h 2235200"/>
                    <a:gd name="connsiteX16" fmla="*/ 937280 w 2235200"/>
                    <a:gd name="connsiteY16" fmla="*/ 1993308 h 2235200"/>
                    <a:gd name="connsiteX17" fmla="*/ 823802 w 2235200"/>
                    <a:gd name="connsiteY17" fmla="*/ 2189870 h 2235200"/>
                    <a:gd name="connsiteX18" fmla="*/ 653420 w 2235200"/>
                    <a:gd name="connsiteY18" fmla="*/ 2127856 h 2235200"/>
                    <a:gd name="connsiteX19" fmla="*/ 692839 w 2235200"/>
                    <a:gd name="connsiteY19" fmla="*/ 1904338 h 2235200"/>
                    <a:gd name="connsiteX20" fmla="*/ 416574 w 2235200"/>
                    <a:gd name="connsiteY20" fmla="*/ 1672524 h 2235200"/>
                    <a:gd name="connsiteX21" fmla="*/ 203296 w 2235200"/>
                    <a:gd name="connsiteY21" fmla="*/ 1750157 h 2235200"/>
                    <a:gd name="connsiteX22" fmla="*/ 112638 w 2235200"/>
                    <a:gd name="connsiteY22" fmla="*/ 1593132 h 2235200"/>
                    <a:gd name="connsiteX23" fmla="*/ 286508 w 2235200"/>
                    <a:gd name="connsiteY23" fmla="*/ 1447245 h 2235200"/>
                    <a:gd name="connsiteX24" fmla="*/ 223884 w 2235200"/>
                    <a:gd name="connsiteY24" fmla="*/ 1092085 h 2235200"/>
                    <a:gd name="connsiteX25" fmla="*/ 10603 w 2235200"/>
                    <a:gd name="connsiteY25" fmla="*/ 1014463 h 2235200"/>
                    <a:gd name="connsiteX26" fmla="*/ 42088 w 2235200"/>
                    <a:gd name="connsiteY26" fmla="*/ 835901 h 2235200"/>
                    <a:gd name="connsiteX27" fmla="*/ 269055 w 2235200"/>
                    <a:gd name="connsiteY27" fmla="*/ 835907 h 2235200"/>
                    <a:gd name="connsiteX28" fmla="*/ 449374 w 2235200"/>
                    <a:gd name="connsiteY28" fmla="*/ 523585 h 2235200"/>
                    <a:gd name="connsiteX29" fmla="*/ 335886 w 2235200"/>
                    <a:gd name="connsiteY29" fmla="*/ 327029 h 2235200"/>
                    <a:gd name="connsiteX30" fmla="*/ 474782 w 2235200"/>
                    <a:gd name="connsiteY30" fmla="*/ 210481 h 2235200"/>
                    <a:gd name="connsiteX31" fmla="*/ 648645 w 2235200"/>
                    <a:gd name="connsiteY31" fmla="*/ 356377 h 2235200"/>
                    <a:gd name="connsiteX32" fmla="*/ 987535 w 2235200"/>
                    <a:gd name="connsiteY32" fmla="*/ 233031 h 2235200"/>
                    <a:gd name="connsiteX33" fmla="*/ 1026942 w 2235200"/>
                    <a:gd name="connsiteY33" fmla="*/ 9511 h 2235200"/>
                    <a:gd name="connsiteX34" fmla="*/ 1208258 w 2235200"/>
                    <a:gd name="connsiteY34" fmla="*/ 9511 h 2235200"/>
                    <a:gd name="connsiteX35" fmla="*/ 1247665 w 2235200"/>
                    <a:gd name="connsiteY35" fmla="*/ 233031 h 2235200"/>
                    <a:gd name="connsiteX36" fmla="*/ 1586555 w 2235200"/>
                    <a:gd name="connsiteY36" fmla="*/ 356377 h 2235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2235200" h="2235200">
                      <a:moveTo>
                        <a:pt x="1586555" y="356377"/>
                      </a:moveTo>
                      <a:lnTo>
                        <a:pt x="1760418" y="210481"/>
                      </a:lnTo>
                      <a:lnTo>
                        <a:pt x="1899314" y="327029"/>
                      </a:lnTo>
                      <a:lnTo>
                        <a:pt x="1785825" y="523585"/>
                      </a:lnTo>
                      <a:cubicBezTo>
                        <a:pt x="1866522" y="614364"/>
                        <a:pt x="1927876" y="720632"/>
                        <a:pt x="1966144" y="835907"/>
                      </a:cubicBezTo>
                      <a:lnTo>
                        <a:pt x="2193112" y="835901"/>
                      </a:lnTo>
                      <a:lnTo>
                        <a:pt x="2224597" y="1014463"/>
                      </a:lnTo>
                      <a:lnTo>
                        <a:pt x="2011316" y="1092085"/>
                      </a:lnTo>
                      <a:cubicBezTo>
                        <a:pt x="2014782" y="1213496"/>
                        <a:pt x="1993474" y="1334341"/>
                        <a:pt x="1948692" y="1447245"/>
                      </a:cubicBezTo>
                      <a:lnTo>
                        <a:pt x="2122562" y="1593132"/>
                      </a:lnTo>
                      <a:lnTo>
                        <a:pt x="2031904" y="1750157"/>
                      </a:lnTo>
                      <a:lnTo>
                        <a:pt x="1818627" y="1672524"/>
                      </a:lnTo>
                      <a:cubicBezTo>
                        <a:pt x="1743241" y="1767759"/>
                        <a:pt x="1649240" y="1846634"/>
                        <a:pt x="1542362" y="1904338"/>
                      </a:cubicBezTo>
                      <a:lnTo>
                        <a:pt x="1581780" y="2127856"/>
                      </a:lnTo>
                      <a:lnTo>
                        <a:pt x="1411398" y="2189870"/>
                      </a:lnTo>
                      <a:lnTo>
                        <a:pt x="1297919" y="1993308"/>
                      </a:lnTo>
                      <a:cubicBezTo>
                        <a:pt x="1178954" y="2017804"/>
                        <a:pt x="1056245" y="2017804"/>
                        <a:pt x="937280" y="1993308"/>
                      </a:cubicBezTo>
                      <a:lnTo>
                        <a:pt x="823802" y="2189870"/>
                      </a:lnTo>
                      <a:lnTo>
                        <a:pt x="653420" y="2127856"/>
                      </a:lnTo>
                      <a:lnTo>
                        <a:pt x="692839" y="1904338"/>
                      </a:lnTo>
                      <a:cubicBezTo>
                        <a:pt x="585961" y="1846634"/>
                        <a:pt x="491960" y="1767758"/>
                        <a:pt x="416574" y="1672524"/>
                      </a:cubicBezTo>
                      <a:lnTo>
                        <a:pt x="203296" y="1750157"/>
                      </a:lnTo>
                      <a:lnTo>
                        <a:pt x="112638" y="1593132"/>
                      </a:lnTo>
                      <a:lnTo>
                        <a:pt x="286508" y="1447245"/>
                      </a:lnTo>
                      <a:cubicBezTo>
                        <a:pt x="241726" y="1334341"/>
                        <a:pt x="220417" y="1213496"/>
                        <a:pt x="223884" y="1092085"/>
                      </a:cubicBezTo>
                      <a:lnTo>
                        <a:pt x="10603" y="1014463"/>
                      </a:lnTo>
                      <a:lnTo>
                        <a:pt x="42088" y="835901"/>
                      </a:lnTo>
                      <a:lnTo>
                        <a:pt x="269055" y="835907"/>
                      </a:lnTo>
                      <a:cubicBezTo>
                        <a:pt x="307323" y="720632"/>
                        <a:pt x="368677" y="614363"/>
                        <a:pt x="449374" y="523585"/>
                      </a:cubicBezTo>
                      <a:lnTo>
                        <a:pt x="335886" y="327029"/>
                      </a:lnTo>
                      <a:lnTo>
                        <a:pt x="474782" y="210481"/>
                      </a:lnTo>
                      <a:lnTo>
                        <a:pt x="648645" y="356377"/>
                      </a:lnTo>
                      <a:cubicBezTo>
                        <a:pt x="752057" y="292669"/>
                        <a:pt x="867366" y="250701"/>
                        <a:pt x="987535" y="233031"/>
                      </a:cubicBezTo>
                      <a:lnTo>
                        <a:pt x="1026942" y="9511"/>
                      </a:lnTo>
                      <a:lnTo>
                        <a:pt x="1208258" y="9511"/>
                      </a:lnTo>
                      <a:lnTo>
                        <a:pt x="1247665" y="233031"/>
                      </a:lnTo>
                      <a:cubicBezTo>
                        <a:pt x="1367834" y="250700"/>
                        <a:pt x="1483142" y="292669"/>
                        <a:pt x="1586555" y="356377"/>
                      </a:cubicBezTo>
                      <a:close/>
                    </a:path>
                  </a:pathLst>
                </a:custGeom>
                <a:grpFill/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00175" tIns="574385" rIns="500175" bIns="613476" numCol="1" spcCol="1270" anchor="ctr" anchorCtr="0">
                  <a:noAutofit/>
                </a:bodyPr>
                <a:lstStyle/>
                <a:p>
                  <a:pPr lvl="0" algn="ctr" defTabSz="17780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he-IL" sz="4000" kern="1200" dirty="0"/>
                </a:p>
              </p:txBody>
            </p:sp>
            <p:sp>
              <p:nvSpPr>
                <p:cNvPr id="64" name="Freeform 63"/>
                <p:cNvSpPr/>
                <p:nvPr/>
              </p:nvSpPr>
              <p:spPr>
                <a:xfrm>
                  <a:off x="3068320" y="2697480"/>
                  <a:ext cx="1625600" cy="1625600"/>
                </a:xfrm>
                <a:custGeom>
                  <a:avLst/>
                  <a:gdLst>
                    <a:gd name="connsiteX0" fmla="*/ 1216350 w 1625600"/>
                    <a:gd name="connsiteY0" fmla="*/ 411723 h 1625600"/>
                    <a:gd name="connsiteX1" fmla="*/ 1456181 w 1625600"/>
                    <a:gd name="connsiteY1" fmla="*/ 339443 h 1625600"/>
                    <a:gd name="connsiteX2" fmla="*/ 1544430 w 1625600"/>
                    <a:gd name="connsiteY2" fmla="*/ 492294 h 1625600"/>
                    <a:gd name="connsiteX3" fmla="*/ 1361918 w 1625600"/>
                    <a:gd name="connsiteY3" fmla="*/ 663854 h 1625600"/>
                    <a:gd name="connsiteX4" fmla="*/ 1361918 w 1625600"/>
                    <a:gd name="connsiteY4" fmla="*/ 961747 h 1625600"/>
                    <a:gd name="connsiteX5" fmla="*/ 1544430 w 1625600"/>
                    <a:gd name="connsiteY5" fmla="*/ 1133306 h 1625600"/>
                    <a:gd name="connsiteX6" fmla="*/ 1456181 w 1625600"/>
                    <a:gd name="connsiteY6" fmla="*/ 1286157 h 1625600"/>
                    <a:gd name="connsiteX7" fmla="*/ 1216350 w 1625600"/>
                    <a:gd name="connsiteY7" fmla="*/ 1213877 h 1625600"/>
                    <a:gd name="connsiteX8" fmla="*/ 958367 w 1625600"/>
                    <a:gd name="connsiteY8" fmla="*/ 1362823 h 1625600"/>
                    <a:gd name="connsiteX9" fmla="*/ 901049 w 1625600"/>
                    <a:gd name="connsiteY9" fmla="*/ 1606663 h 1625600"/>
                    <a:gd name="connsiteX10" fmla="*/ 724551 w 1625600"/>
                    <a:gd name="connsiteY10" fmla="*/ 1606663 h 1625600"/>
                    <a:gd name="connsiteX11" fmla="*/ 667232 w 1625600"/>
                    <a:gd name="connsiteY11" fmla="*/ 1362823 h 1625600"/>
                    <a:gd name="connsiteX12" fmla="*/ 409249 w 1625600"/>
                    <a:gd name="connsiteY12" fmla="*/ 1213877 h 1625600"/>
                    <a:gd name="connsiteX13" fmla="*/ 169419 w 1625600"/>
                    <a:gd name="connsiteY13" fmla="*/ 1286157 h 1625600"/>
                    <a:gd name="connsiteX14" fmla="*/ 81170 w 1625600"/>
                    <a:gd name="connsiteY14" fmla="*/ 1133306 h 1625600"/>
                    <a:gd name="connsiteX15" fmla="*/ 263682 w 1625600"/>
                    <a:gd name="connsiteY15" fmla="*/ 961746 h 1625600"/>
                    <a:gd name="connsiteX16" fmla="*/ 263682 w 1625600"/>
                    <a:gd name="connsiteY16" fmla="*/ 663853 h 1625600"/>
                    <a:gd name="connsiteX17" fmla="*/ 81170 w 1625600"/>
                    <a:gd name="connsiteY17" fmla="*/ 492294 h 1625600"/>
                    <a:gd name="connsiteX18" fmla="*/ 169419 w 1625600"/>
                    <a:gd name="connsiteY18" fmla="*/ 339443 h 1625600"/>
                    <a:gd name="connsiteX19" fmla="*/ 409250 w 1625600"/>
                    <a:gd name="connsiteY19" fmla="*/ 411723 h 1625600"/>
                    <a:gd name="connsiteX20" fmla="*/ 667233 w 1625600"/>
                    <a:gd name="connsiteY20" fmla="*/ 262777 h 1625600"/>
                    <a:gd name="connsiteX21" fmla="*/ 724551 w 1625600"/>
                    <a:gd name="connsiteY21" fmla="*/ 18937 h 1625600"/>
                    <a:gd name="connsiteX22" fmla="*/ 901049 w 1625600"/>
                    <a:gd name="connsiteY22" fmla="*/ 18937 h 1625600"/>
                    <a:gd name="connsiteX23" fmla="*/ 958368 w 1625600"/>
                    <a:gd name="connsiteY23" fmla="*/ 262777 h 1625600"/>
                    <a:gd name="connsiteX24" fmla="*/ 1216351 w 1625600"/>
                    <a:gd name="connsiteY24" fmla="*/ 411723 h 1625600"/>
                    <a:gd name="connsiteX25" fmla="*/ 1216350 w 1625600"/>
                    <a:gd name="connsiteY25" fmla="*/ 411723 h 1625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625600" h="1625600">
                      <a:moveTo>
                        <a:pt x="1216350" y="411723"/>
                      </a:moveTo>
                      <a:lnTo>
                        <a:pt x="1456181" y="339443"/>
                      </a:lnTo>
                      <a:lnTo>
                        <a:pt x="1544430" y="492294"/>
                      </a:lnTo>
                      <a:lnTo>
                        <a:pt x="1361918" y="663854"/>
                      </a:lnTo>
                      <a:cubicBezTo>
                        <a:pt x="1388374" y="761389"/>
                        <a:pt x="1388374" y="864211"/>
                        <a:pt x="1361918" y="961747"/>
                      </a:cubicBezTo>
                      <a:lnTo>
                        <a:pt x="1544430" y="1133306"/>
                      </a:lnTo>
                      <a:lnTo>
                        <a:pt x="1456181" y="1286157"/>
                      </a:lnTo>
                      <a:lnTo>
                        <a:pt x="1216350" y="1213877"/>
                      </a:lnTo>
                      <a:cubicBezTo>
                        <a:pt x="1145110" y="1285556"/>
                        <a:pt x="1056063" y="1336967"/>
                        <a:pt x="958367" y="1362823"/>
                      </a:cubicBezTo>
                      <a:lnTo>
                        <a:pt x="901049" y="1606663"/>
                      </a:lnTo>
                      <a:lnTo>
                        <a:pt x="724551" y="1606663"/>
                      </a:lnTo>
                      <a:lnTo>
                        <a:pt x="667232" y="1362823"/>
                      </a:lnTo>
                      <a:cubicBezTo>
                        <a:pt x="569536" y="1336967"/>
                        <a:pt x="480489" y="1285556"/>
                        <a:pt x="409249" y="1213877"/>
                      </a:cubicBezTo>
                      <a:lnTo>
                        <a:pt x="169419" y="1286157"/>
                      </a:lnTo>
                      <a:lnTo>
                        <a:pt x="81170" y="1133306"/>
                      </a:lnTo>
                      <a:lnTo>
                        <a:pt x="263682" y="961746"/>
                      </a:lnTo>
                      <a:cubicBezTo>
                        <a:pt x="237226" y="864211"/>
                        <a:pt x="237226" y="761389"/>
                        <a:pt x="263682" y="663853"/>
                      </a:cubicBezTo>
                      <a:lnTo>
                        <a:pt x="81170" y="492294"/>
                      </a:lnTo>
                      <a:lnTo>
                        <a:pt x="169419" y="339443"/>
                      </a:lnTo>
                      <a:lnTo>
                        <a:pt x="409250" y="411723"/>
                      </a:lnTo>
                      <a:cubicBezTo>
                        <a:pt x="480490" y="340044"/>
                        <a:pt x="569537" y="288633"/>
                        <a:pt x="667233" y="262777"/>
                      </a:cubicBezTo>
                      <a:lnTo>
                        <a:pt x="724551" y="18937"/>
                      </a:lnTo>
                      <a:lnTo>
                        <a:pt x="901049" y="18937"/>
                      </a:lnTo>
                      <a:lnTo>
                        <a:pt x="958368" y="262777"/>
                      </a:lnTo>
                      <a:cubicBezTo>
                        <a:pt x="1056064" y="288633"/>
                        <a:pt x="1145111" y="340044"/>
                        <a:pt x="1216351" y="411723"/>
                      </a:cubicBezTo>
                      <a:lnTo>
                        <a:pt x="1216350" y="411723"/>
                      </a:lnTo>
                      <a:close/>
                    </a:path>
                  </a:pathLst>
                </a:custGeom>
                <a:grpFill/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439730" tIns="442203" rIns="439730" bIns="442203" numCol="1" spcCol="1270" anchor="ctr" anchorCtr="0">
                  <a:noAutofit/>
                </a:bodyPr>
                <a:lstStyle/>
                <a:p>
                  <a:pPr lvl="0" algn="ctr" defTabSz="10668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he-IL" sz="2400" kern="1200" dirty="0"/>
                </a:p>
              </p:txBody>
            </p:sp>
            <p:sp>
              <p:nvSpPr>
                <p:cNvPr id="65" name="Freeform 64"/>
                <p:cNvSpPr/>
                <p:nvPr/>
              </p:nvSpPr>
              <p:spPr>
                <a:xfrm>
                  <a:off x="3799839" y="1396999"/>
                  <a:ext cx="1950720" cy="1950720"/>
                </a:xfrm>
                <a:custGeom>
                  <a:avLst/>
                  <a:gdLst>
                    <a:gd name="connsiteX0" fmla="*/ 1191775 w 1592756"/>
                    <a:gd name="connsiteY0" fmla="*/ 403405 h 1592756"/>
                    <a:gd name="connsiteX1" fmla="*/ 1426760 w 1592756"/>
                    <a:gd name="connsiteY1" fmla="*/ 332584 h 1592756"/>
                    <a:gd name="connsiteX2" fmla="*/ 1513226 w 1592756"/>
                    <a:gd name="connsiteY2" fmla="*/ 482348 h 1592756"/>
                    <a:gd name="connsiteX3" fmla="*/ 1334401 w 1592756"/>
                    <a:gd name="connsiteY3" fmla="*/ 650441 h 1592756"/>
                    <a:gd name="connsiteX4" fmla="*/ 1334401 w 1592756"/>
                    <a:gd name="connsiteY4" fmla="*/ 942315 h 1592756"/>
                    <a:gd name="connsiteX5" fmla="*/ 1513226 w 1592756"/>
                    <a:gd name="connsiteY5" fmla="*/ 1110408 h 1592756"/>
                    <a:gd name="connsiteX6" fmla="*/ 1426760 w 1592756"/>
                    <a:gd name="connsiteY6" fmla="*/ 1260172 h 1592756"/>
                    <a:gd name="connsiteX7" fmla="*/ 1191775 w 1592756"/>
                    <a:gd name="connsiteY7" fmla="*/ 1189351 h 1592756"/>
                    <a:gd name="connsiteX8" fmla="*/ 939004 w 1592756"/>
                    <a:gd name="connsiteY8" fmla="*/ 1335288 h 1592756"/>
                    <a:gd name="connsiteX9" fmla="*/ 882844 w 1592756"/>
                    <a:gd name="connsiteY9" fmla="*/ 1574202 h 1592756"/>
                    <a:gd name="connsiteX10" fmla="*/ 709912 w 1592756"/>
                    <a:gd name="connsiteY10" fmla="*/ 1574202 h 1592756"/>
                    <a:gd name="connsiteX11" fmla="*/ 653752 w 1592756"/>
                    <a:gd name="connsiteY11" fmla="*/ 1335288 h 1592756"/>
                    <a:gd name="connsiteX12" fmla="*/ 400981 w 1592756"/>
                    <a:gd name="connsiteY12" fmla="*/ 1189351 h 1592756"/>
                    <a:gd name="connsiteX13" fmla="*/ 165996 w 1592756"/>
                    <a:gd name="connsiteY13" fmla="*/ 1260172 h 1592756"/>
                    <a:gd name="connsiteX14" fmla="*/ 79530 w 1592756"/>
                    <a:gd name="connsiteY14" fmla="*/ 1110408 h 1592756"/>
                    <a:gd name="connsiteX15" fmla="*/ 258355 w 1592756"/>
                    <a:gd name="connsiteY15" fmla="*/ 942315 h 1592756"/>
                    <a:gd name="connsiteX16" fmla="*/ 258355 w 1592756"/>
                    <a:gd name="connsiteY16" fmla="*/ 650441 h 1592756"/>
                    <a:gd name="connsiteX17" fmla="*/ 79530 w 1592756"/>
                    <a:gd name="connsiteY17" fmla="*/ 482348 h 1592756"/>
                    <a:gd name="connsiteX18" fmla="*/ 165996 w 1592756"/>
                    <a:gd name="connsiteY18" fmla="*/ 332584 h 1592756"/>
                    <a:gd name="connsiteX19" fmla="*/ 400981 w 1592756"/>
                    <a:gd name="connsiteY19" fmla="*/ 403405 h 1592756"/>
                    <a:gd name="connsiteX20" fmla="*/ 653752 w 1592756"/>
                    <a:gd name="connsiteY20" fmla="*/ 257468 h 1592756"/>
                    <a:gd name="connsiteX21" fmla="*/ 709912 w 1592756"/>
                    <a:gd name="connsiteY21" fmla="*/ 18554 h 1592756"/>
                    <a:gd name="connsiteX22" fmla="*/ 882844 w 1592756"/>
                    <a:gd name="connsiteY22" fmla="*/ 18554 h 1592756"/>
                    <a:gd name="connsiteX23" fmla="*/ 939004 w 1592756"/>
                    <a:gd name="connsiteY23" fmla="*/ 257468 h 1592756"/>
                    <a:gd name="connsiteX24" fmla="*/ 1191775 w 1592756"/>
                    <a:gd name="connsiteY24" fmla="*/ 403405 h 1592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592756" h="1592756">
                      <a:moveTo>
                        <a:pt x="1025173" y="402893"/>
                      </a:moveTo>
                      <a:lnTo>
                        <a:pt x="1195533" y="297380"/>
                      </a:lnTo>
                      <a:lnTo>
                        <a:pt x="1295376" y="397223"/>
                      </a:lnTo>
                      <a:lnTo>
                        <a:pt x="1189863" y="567584"/>
                      </a:lnTo>
                      <a:cubicBezTo>
                        <a:pt x="1230502" y="637475"/>
                        <a:pt x="1251792" y="716930"/>
                        <a:pt x="1251543" y="797777"/>
                      </a:cubicBezTo>
                      <a:lnTo>
                        <a:pt x="1428100" y="892558"/>
                      </a:lnTo>
                      <a:lnTo>
                        <a:pt x="1391556" y="1028945"/>
                      </a:lnTo>
                      <a:lnTo>
                        <a:pt x="1191263" y="1022749"/>
                      </a:lnTo>
                      <a:cubicBezTo>
                        <a:pt x="1151054" y="1092889"/>
                        <a:pt x="1092889" y="1151054"/>
                        <a:pt x="1022749" y="1191262"/>
                      </a:cubicBezTo>
                      <a:lnTo>
                        <a:pt x="1028945" y="1391556"/>
                      </a:lnTo>
                      <a:lnTo>
                        <a:pt x="892558" y="1428101"/>
                      </a:lnTo>
                      <a:lnTo>
                        <a:pt x="797778" y="1251543"/>
                      </a:lnTo>
                      <a:cubicBezTo>
                        <a:pt x="716930" y="1251791"/>
                        <a:pt x="637475" y="1230502"/>
                        <a:pt x="567583" y="1189863"/>
                      </a:cubicBezTo>
                      <a:lnTo>
                        <a:pt x="397223" y="1295376"/>
                      </a:lnTo>
                      <a:lnTo>
                        <a:pt x="297380" y="1195533"/>
                      </a:lnTo>
                      <a:lnTo>
                        <a:pt x="402893" y="1025172"/>
                      </a:lnTo>
                      <a:cubicBezTo>
                        <a:pt x="362254" y="955281"/>
                        <a:pt x="340964" y="875826"/>
                        <a:pt x="341213" y="794979"/>
                      </a:cubicBezTo>
                      <a:lnTo>
                        <a:pt x="164656" y="700198"/>
                      </a:lnTo>
                      <a:lnTo>
                        <a:pt x="201200" y="563811"/>
                      </a:lnTo>
                      <a:lnTo>
                        <a:pt x="401493" y="570007"/>
                      </a:lnTo>
                      <a:cubicBezTo>
                        <a:pt x="441702" y="499867"/>
                        <a:pt x="499867" y="441702"/>
                        <a:pt x="570007" y="401494"/>
                      </a:cubicBezTo>
                      <a:lnTo>
                        <a:pt x="563811" y="201200"/>
                      </a:lnTo>
                      <a:lnTo>
                        <a:pt x="700198" y="164655"/>
                      </a:lnTo>
                      <a:lnTo>
                        <a:pt x="794978" y="341213"/>
                      </a:lnTo>
                      <a:cubicBezTo>
                        <a:pt x="875826" y="340965"/>
                        <a:pt x="955281" y="362254"/>
                        <a:pt x="1025173" y="402893"/>
                      </a:cubicBezTo>
                      <a:close/>
                    </a:path>
                  </a:pathLst>
                </a:custGeom>
                <a:grpFill/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62611" tIns="562611" rIns="562609" bIns="562609" numCol="1" spcCol="1270" anchor="ctr" anchorCtr="0">
                  <a:noAutofit/>
                </a:bodyPr>
                <a:lstStyle/>
                <a:p>
                  <a:pPr lvl="0" algn="ctr" defTabSz="120015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he-IL" sz="2700" kern="1200" dirty="0"/>
                </a:p>
              </p:txBody>
            </p:sp>
            <p:sp>
              <p:nvSpPr>
                <p:cNvPr id="66" name="Circular Arrow 65"/>
                <p:cNvSpPr/>
                <p:nvPr/>
              </p:nvSpPr>
              <p:spPr>
                <a:xfrm>
                  <a:off x="4195505" y="2889320"/>
                  <a:ext cx="2861056" cy="2861056"/>
                </a:xfrm>
                <a:prstGeom prst="circularArrow">
                  <a:avLst>
                    <a:gd name="adj1" fmla="val 4687"/>
                    <a:gd name="adj2" fmla="val 299029"/>
                    <a:gd name="adj3" fmla="val 2513083"/>
                    <a:gd name="adj4" fmla="val 15867933"/>
                    <a:gd name="adj5" fmla="val 5469"/>
                  </a:avLst>
                </a:prstGeom>
                <a:grpFill/>
              </p:spPr>
              <p:style>
                <a:ln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7" name="Shape 66"/>
                <p:cNvSpPr/>
                <p:nvPr/>
              </p:nvSpPr>
              <p:spPr>
                <a:xfrm>
                  <a:off x="2780429" y="2338355"/>
                  <a:ext cx="2078736" cy="2078736"/>
                </a:xfrm>
                <a:prstGeom prst="leftCircularArrow">
                  <a:avLst>
                    <a:gd name="adj1" fmla="val 6452"/>
                    <a:gd name="adj2" fmla="val 429999"/>
                    <a:gd name="adj3" fmla="val 10489124"/>
                    <a:gd name="adj4" fmla="val 14837806"/>
                    <a:gd name="adj5" fmla="val 7527"/>
                  </a:avLst>
                </a:prstGeom>
                <a:grpFill/>
              </p:spPr>
              <p:style>
                <a:ln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8" name="Circular Arrow 67"/>
                <p:cNvSpPr/>
                <p:nvPr/>
              </p:nvSpPr>
              <p:spPr>
                <a:xfrm>
                  <a:off x="3610400" y="1227668"/>
                  <a:ext cx="2241296" cy="2241296"/>
                </a:xfrm>
                <a:prstGeom prst="circularArrow">
                  <a:avLst>
                    <a:gd name="adj1" fmla="val 5984"/>
                    <a:gd name="adj2" fmla="val 394124"/>
                    <a:gd name="adj3" fmla="val 13313824"/>
                    <a:gd name="adj4" fmla="val 10508221"/>
                    <a:gd name="adj5" fmla="val 6981"/>
                  </a:avLst>
                </a:prstGeom>
                <a:grpFill/>
              </p:spPr>
              <p:style>
                <a:ln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</p:grpSp>
          <p:sp>
            <p:nvSpPr>
              <p:cNvPr id="62" name="Rectangle 61"/>
              <p:cNvSpPr/>
              <p:nvPr/>
            </p:nvSpPr>
            <p:spPr>
              <a:xfrm>
                <a:off x="2306188" y="3219785"/>
                <a:ext cx="2340918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914023"/>
                <a:r>
                  <a:rPr lang="en-US" dirty="0" smtClean="0">
                    <a:solidFill>
                      <a:schemeClr val="lt1">
                        <a:alpha val="99000"/>
                      </a:schemeClr>
                    </a:solidFill>
                  </a:rPr>
                  <a:t>Integration</a:t>
                </a:r>
              </a:p>
              <a:p>
                <a:pPr algn="ctr" defTabSz="914023"/>
                <a:r>
                  <a:rPr lang="en-US" dirty="0" smtClean="0">
                    <a:solidFill>
                      <a:schemeClr val="lt1">
                        <a:alpha val="99000"/>
                      </a:schemeClr>
                    </a:solidFill>
                  </a:rPr>
                  <a:t>Tools</a:t>
                </a:r>
                <a:endParaRPr lang="he-IL" dirty="0">
                  <a:solidFill>
                    <a:schemeClr val="lt1">
                      <a:alpha val="99000"/>
                    </a:schemeClr>
                  </a:solidFill>
                </a:endParaRPr>
              </a:p>
            </p:txBody>
          </p:sp>
        </p:grpSp>
      </p:grpSp>
      <p:grpSp>
        <p:nvGrpSpPr>
          <p:cNvPr id="69" name="Group 68"/>
          <p:cNvGrpSpPr/>
          <p:nvPr/>
        </p:nvGrpSpPr>
        <p:grpSpPr>
          <a:xfrm>
            <a:off x="6835248" y="1035844"/>
            <a:ext cx="1553176" cy="5308574"/>
            <a:chOff x="6835248" y="964591"/>
            <a:chExt cx="1553176" cy="5308574"/>
          </a:xfrm>
        </p:grpSpPr>
        <p:grpSp>
          <p:nvGrpSpPr>
            <p:cNvPr id="70" name="Group 69"/>
            <p:cNvGrpSpPr/>
            <p:nvPr/>
          </p:nvGrpSpPr>
          <p:grpSpPr>
            <a:xfrm>
              <a:off x="6835248" y="964591"/>
              <a:ext cx="1553176" cy="5308574"/>
              <a:chOff x="6763240" y="964591"/>
              <a:chExt cx="1553176" cy="5308574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6763240" y="964591"/>
                <a:ext cx="1553176" cy="5308574"/>
                <a:chOff x="6837220" y="980728"/>
                <a:chExt cx="1553176" cy="5308574"/>
              </a:xfrm>
            </p:grpSpPr>
            <p:sp>
              <p:nvSpPr>
                <p:cNvPr id="78" name="Rectangle 77"/>
                <p:cNvSpPr/>
                <p:nvPr>
                  <p:custDataLst>
                    <p:tags r:id="rId1"/>
                  </p:custDataLst>
                </p:nvPr>
              </p:nvSpPr>
              <p:spPr bwMode="auto">
                <a:xfrm>
                  <a:off x="6837220" y="1469409"/>
                  <a:ext cx="1553176" cy="4819893"/>
                </a:xfrm>
                <a:prstGeom prst="rect">
                  <a:avLst/>
                </a:prstGeom>
                <a:solidFill>
                  <a:srgbClr val="46464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40" tIns="45718" rIns="91440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23"/>
                  <a:endParaRPr lang="en-US" sz="2000" dirty="0">
                    <a:solidFill>
                      <a:schemeClr val="bg1">
                        <a:alpha val="99000"/>
                      </a:schemeClr>
                    </a:solidFill>
                  </a:endParaRPr>
                </a:p>
              </p:txBody>
            </p:sp>
            <p:sp>
              <p:nvSpPr>
                <p:cNvPr id="79" name="Rectangle 78"/>
                <p:cNvSpPr/>
                <p:nvPr>
                  <p:custDataLst>
                    <p:tags r:id="rId2"/>
                  </p:custDataLst>
                </p:nvPr>
              </p:nvSpPr>
              <p:spPr bwMode="auto">
                <a:xfrm>
                  <a:off x="6837220" y="980728"/>
                  <a:ext cx="1551204" cy="496956"/>
                </a:xfrm>
                <a:prstGeom prst="rect">
                  <a:avLst/>
                </a:prstGeom>
                <a:solidFill>
                  <a:srgbClr val="ED193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40" tIns="45718" rIns="91440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23"/>
                  <a:r>
                    <a:rPr lang="en-US" sz="1600" dirty="0" smtClean="0">
                      <a:solidFill>
                        <a:schemeClr val="bg1">
                          <a:alpha val="99000"/>
                        </a:schemeClr>
                      </a:solidFill>
                    </a:rPr>
                    <a:t>Presentation</a:t>
                  </a:r>
                  <a:endParaRPr lang="en-US" sz="1600" dirty="0">
                    <a:solidFill>
                      <a:schemeClr val="bg1">
                        <a:alpha val="99000"/>
                      </a:schemeClr>
                    </a:solidFill>
                  </a:endParaRPr>
                </a:p>
              </p:txBody>
            </p:sp>
            <p:pic>
              <p:nvPicPr>
                <p:cNvPr id="80" name="Picture 79"/>
                <p:cNvPicPr>
                  <a:picLocks noChangeAspect="1"/>
                </p:cNvPicPr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7372955" y="1765574"/>
                  <a:ext cx="507419" cy="622335"/>
                </a:xfrm>
                <a:prstGeom prst="rect">
                  <a:avLst/>
                </a:prstGeom>
              </p:spPr>
            </p:pic>
            <p:pic>
              <p:nvPicPr>
                <p:cNvPr id="81" name="Picture 80"/>
                <p:cNvPicPr>
                  <a:picLocks noChangeAspect="1"/>
                </p:cNvPicPr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7347346" y="2838831"/>
                  <a:ext cx="493564" cy="470185"/>
                </a:xfrm>
                <a:prstGeom prst="rect">
                  <a:avLst/>
                </a:prstGeom>
              </p:spPr>
            </p:pic>
            <p:pic>
              <p:nvPicPr>
                <p:cNvPr id="82" name="Picture 81"/>
                <p:cNvPicPr>
                  <a:picLocks noChangeAspect="1"/>
                </p:cNvPicPr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7081084" y="3744997"/>
                  <a:ext cx="1135651" cy="1040591"/>
                </a:xfrm>
                <a:prstGeom prst="rect">
                  <a:avLst/>
                </a:prstGeom>
              </p:spPr>
            </p:pic>
            <p:sp>
              <p:nvSpPr>
                <p:cNvPr id="83" name="Rectangle 82"/>
                <p:cNvSpPr/>
                <p:nvPr/>
              </p:nvSpPr>
              <p:spPr bwMode="auto">
                <a:xfrm>
                  <a:off x="6970508" y="3712265"/>
                  <a:ext cx="1296144" cy="1126767"/>
                </a:xfrm>
                <a:prstGeom prst="rect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he-IL" sz="1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75" name="Rectangle 74"/>
              <p:cNvSpPr/>
              <p:nvPr/>
            </p:nvSpPr>
            <p:spPr>
              <a:xfrm>
                <a:off x="7185154" y="1484784"/>
                <a:ext cx="70737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Reports</a:t>
                </a:r>
                <a:endParaRPr lang="he-IL" sz="1200" dirty="0">
                  <a:latin typeface="Gisha" panose="020B0502040204020203" pitchFamily="34" charset="-79"/>
                  <a:cs typeface="Gisha" panose="020B0502040204020203" pitchFamily="34" charset="-79"/>
                </a:endParaRPr>
              </a:p>
            </p:txBody>
          </p:sp>
          <p:sp>
            <p:nvSpPr>
              <p:cNvPr id="76" name="Rectangle 75"/>
              <p:cNvSpPr/>
              <p:nvPr/>
            </p:nvSpPr>
            <p:spPr>
              <a:xfrm>
                <a:off x="6993749" y="3429000"/>
                <a:ext cx="98687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Dashboards</a:t>
                </a:r>
                <a:endParaRPr lang="he-IL" sz="1200" dirty="0">
                  <a:latin typeface="Gisha" panose="020B0502040204020203" pitchFamily="34" charset="-79"/>
                  <a:cs typeface="Gisha" panose="020B0502040204020203" pitchFamily="34" charset="-79"/>
                </a:endParaRP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7020272" y="2564904"/>
                <a:ext cx="964881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Forecasting</a:t>
                </a:r>
                <a:endParaRPr lang="he-IL" sz="1200" dirty="0">
                  <a:latin typeface="Gisha" panose="020B0502040204020203" pitchFamily="34" charset="-79"/>
                  <a:cs typeface="Gisha" panose="020B0502040204020203" pitchFamily="34" charset="-79"/>
                </a:endParaRPr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7259255" y="5175055"/>
              <a:ext cx="808134" cy="808134"/>
              <a:chOff x="7259255" y="5175055"/>
              <a:chExt cx="808134" cy="808134"/>
            </a:xfrm>
          </p:grpSpPr>
          <p:pic>
            <p:nvPicPr>
              <p:cNvPr id="72" name="Picture 71"/>
              <p:cNvPicPr>
                <a:picLocks noChangeAspect="1"/>
              </p:cNvPicPr>
              <p:nvPr/>
            </p:nvPicPr>
            <p:blipFill>
              <a:blip r:embed="rId32"/>
              <a:stretch>
                <a:fillRect/>
              </a:stretch>
            </p:blipFill>
            <p:spPr>
              <a:xfrm>
                <a:off x="7259255" y="5175055"/>
                <a:ext cx="808134" cy="808134"/>
              </a:xfrm>
              <a:prstGeom prst="rect">
                <a:avLst/>
              </a:prstGeom>
            </p:spPr>
          </p:pic>
          <p:sp>
            <p:nvSpPr>
              <p:cNvPr id="73" name="Rectangle 72"/>
              <p:cNvSpPr/>
              <p:nvPr/>
            </p:nvSpPr>
            <p:spPr>
              <a:xfrm>
                <a:off x="7417879" y="5410453"/>
                <a:ext cx="487634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600" dirty="0" smtClean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API</a:t>
                </a:r>
                <a:endParaRPr lang="he-IL" sz="1600" dirty="0"/>
              </a:p>
            </p:txBody>
          </p:sp>
        </p:grp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604203" y="2066540"/>
            <a:ext cx="761152" cy="748718"/>
          </a:xfrm>
          <a:prstGeom prst="rect">
            <a:avLst/>
          </a:prstGeom>
        </p:spPr>
      </p:pic>
      <p:sp>
        <p:nvSpPr>
          <p:cNvPr id="84" name="Rectangle 83"/>
          <p:cNvSpPr/>
          <p:nvPr/>
        </p:nvSpPr>
        <p:spPr>
          <a:xfrm>
            <a:off x="5532631" y="1821337"/>
            <a:ext cx="9169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chemeClr val="bg1">
                    <a:alpha val="99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In Memory</a:t>
            </a:r>
            <a:endParaRPr lang="he-IL" sz="1200" dirty="0">
              <a:latin typeface="Gisha" panose="020B0502040204020203" pitchFamily="34" charset="-79"/>
              <a:cs typeface="Gisha" panose="020B05020402040202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68980286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warehouse key trait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1721287" y="1169700"/>
            <a:ext cx="2467230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Subject Oriented</a:t>
            </a:r>
            <a:endParaRPr lang="en-US" sz="26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452968" y="1169700"/>
            <a:ext cx="1187925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301530" y="1169700"/>
            <a:ext cx="4386186" cy="123263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Datawarehouse is usually subject oriented (Finance, Customers etc.) but it is still possible to look at cross subject areas</a:t>
            </a:r>
            <a:endParaRPr lang="en-US" sz="14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701160" y="2465844"/>
            <a:ext cx="2467230" cy="1220485"/>
          </a:xfrm>
          <a:prstGeom prst="rect">
            <a:avLst/>
          </a:prstGeom>
          <a:solidFill>
            <a:srgbClr val="7D7D7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Integrated &amp; Multi Dimensional</a:t>
            </a:r>
            <a:endParaRPr lang="he-IL" sz="2600" dirty="0" smtClean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52968" y="2465844"/>
            <a:ext cx="1187925" cy="1220485"/>
          </a:xfrm>
          <a:prstGeom prst="rect">
            <a:avLst/>
          </a:prstGeom>
          <a:solidFill>
            <a:srgbClr val="7D7D7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4297680" y="2465844"/>
            <a:ext cx="4386186" cy="122048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Contains consolidated and integrated data from multiple data sources</a:t>
            </a:r>
            <a:endParaRPr lang="en-US" sz="1400" dirty="0">
              <a:solidFill>
                <a:schemeClr val="lt1">
                  <a:alpha val="99000"/>
                </a:schemeClr>
              </a:solidFill>
            </a:endParaRPr>
          </a:p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Multidimensional Modeling creates relationships between different subject areas</a:t>
            </a:r>
            <a:endParaRPr lang="he-IL" sz="1400" dirty="0" smtClean="0">
              <a:solidFill>
                <a:schemeClr val="lt1">
                  <a:alpha val="99000"/>
                </a:schemeClr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87856" y="2753876"/>
            <a:ext cx="629208" cy="640948"/>
            <a:chOff x="7572720" y="2959689"/>
            <a:chExt cx="889446" cy="1040691"/>
          </a:xfrm>
        </p:grpSpPr>
        <p:sp>
          <p:nvSpPr>
            <p:cNvPr id="12" name="Rectangle 11"/>
            <p:cNvSpPr/>
            <p:nvPr/>
          </p:nvSpPr>
          <p:spPr bwMode="auto">
            <a:xfrm>
              <a:off x="7948461" y="3329902"/>
              <a:ext cx="216024" cy="2880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7702604" y="2959689"/>
              <a:ext cx="202250" cy="18127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8235331" y="3068441"/>
              <a:ext cx="202250" cy="18127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>
              <a:off x="8259916" y="3727582"/>
              <a:ext cx="202250" cy="18127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7572720" y="3383278"/>
              <a:ext cx="202250" cy="18127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7952501" y="3819101"/>
              <a:ext cx="202250" cy="18127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8" name="Elbow Connector 17"/>
            <p:cNvCxnSpPr>
              <a:stCxn id="12" idx="3"/>
              <a:endCxn id="14" idx="2"/>
            </p:cNvCxnSpPr>
            <p:nvPr/>
          </p:nvCxnSpPr>
          <p:spPr bwMode="auto">
            <a:xfrm flipV="1">
              <a:off x="8164485" y="3249720"/>
              <a:ext cx="171971" cy="224198"/>
            </a:xfrm>
            <a:prstGeom prst="bentConnector2">
              <a:avLst/>
            </a:prstGeom>
            <a:solidFill>
              <a:schemeClr val="bg1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Elbow Connector 18"/>
            <p:cNvCxnSpPr>
              <a:stCxn id="12" idx="0"/>
              <a:endCxn id="13" idx="2"/>
            </p:cNvCxnSpPr>
            <p:nvPr/>
          </p:nvCxnSpPr>
          <p:spPr bwMode="auto">
            <a:xfrm rot="16200000" flipV="1">
              <a:off x="7835634" y="3109063"/>
              <a:ext cx="188934" cy="252744"/>
            </a:xfrm>
            <a:prstGeom prst="bentConnector3">
              <a:avLst>
                <a:gd name="adj1" fmla="val 50000"/>
              </a:avLst>
            </a:prstGeom>
            <a:solidFill>
              <a:schemeClr val="bg1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" name="Straight Connector 19"/>
            <p:cNvCxnSpPr>
              <a:stCxn id="12" idx="1"/>
              <a:endCxn id="16" idx="3"/>
            </p:cNvCxnSpPr>
            <p:nvPr/>
          </p:nvCxnSpPr>
          <p:spPr bwMode="auto">
            <a:xfrm flipH="1">
              <a:off x="7774970" y="3473918"/>
              <a:ext cx="173491" cy="0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" name="Straight Connector 20"/>
            <p:cNvCxnSpPr>
              <a:stCxn id="12" idx="2"/>
              <a:endCxn id="17" idx="0"/>
            </p:cNvCxnSpPr>
            <p:nvPr/>
          </p:nvCxnSpPr>
          <p:spPr bwMode="auto">
            <a:xfrm flipH="1">
              <a:off x="8053626" y="3617934"/>
              <a:ext cx="2847" cy="201167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" name="Elbow Connector 21"/>
            <p:cNvCxnSpPr/>
            <p:nvPr/>
          </p:nvCxnSpPr>
          <p:spPr bwMode="auto">
            <a:xfrm>
              <a:off x="8164485" y="3556215"/>
              <a:ext cx="95431" cy="278570"/>
            </a:xfrm>
            <a:prstGeom prst="bentConnector3">
              <a:avLst/>
            </a:prstGeom>
            <a:solidFill>
              <a:schemeClr val="bg1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4" name="Rectangle 23"/>
          <p:cNvSpPr/>
          <p:nvPr/>
        </p:nvSpPr>
        <p:spPr bwMode="auto">
          <a:xfrm>
            <a:off x="1702016" y="3761988"/>
            <a:ext cx="2467230" cy="119436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Non-volatile &amp; Historical</a:t>
            </a:r>
            <a:endParaRPr lang="en-US" sz="26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52968" y="3761988"/>
            <a:ext cx="1187925" cy="119436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4297680" y="3761988"/>
            <a:ext cx="4386186" cy="119436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It is possible to save snapshots</a:t>
            </a:r>
            <a:endParaRPr lang="he-IL" sz="1400" dirty="0">
              <a:solidFill>
                <a:schemeClr val="lt1">
                  <a:alpha val="99000"/>
                </a:schemeClr>
              </a:solidFill>
            </a:endParaRPr>
          </a:p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No historical data updates are done</a:t>
            </a:r>
            <a:endParaRPr lang="en-US" sz="1400" dirty="0">
              <a:solidFill>
                <a:schemeClr val="lt1">
                  <a:alpha val="99000"/>
                </a:schemeClr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769998" y="3996725"/>
            <a:ext cx="574552" cy="683303"/>
            <a:chOff x="6794723" y="4522593"/>
            <a:chExt cx="1094346" cy="1117607"/>
          </a:xfrm>
        </p:grpSpPr>
        <p:sp>
          <p:nvSpPr>
            <p:cNvPr id="28" name="Flowchart: Magnetic Disk 27"/>
            <p:cNvSpPr/>
            <p:nvPr/>
          </p:nvSpPr>
          <p:spPr>
            <a:xfrm>
              <a:off x="6794723" y="5163847"/>
              <a:ext cx="1094335" cy="476353"/>
            </a:xfrm>
            <a:prstGeom prst="flowChartMagneticDisk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e-IL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6794734" y="4843220"/>
              <a:ext cx="1094335" cy="476353"/>
            </a:xfrm>
            <a:prstGeom prst="flowChartMagneticDisk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e-IL" dirty="0"/>
            </a:p>
          </p:txBody>
        </p:sp>
        <p:sp>
          <p:nvSpPr>
            <p:cNvPr id="30" name="Flowchart: Magnetic Disk 29"/>
            <p:cNvSpPr/>
            <p:nvPr/>
          </p:nvSpPr>
          <p:spPr>
            <a:xfrm>
              <a:off x="6794723" y="4522593"/>
              <a:ext cx="1094335" cy="476353"/>
            </a:xfrm>
            <a:prstGeom prst="flowChartMagneticDisk">
              <a:avLst/>
            </a:prstGeom>
            <a:solidFill>
              <a:schemeClr val="bg1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e-IL" dirty="0"/>
            </a:p>
          </p:txBody>
        </p:sp>
      </p:grpSp>
      <p:sp>
        <p:nvSpPr>
          <p:cNvPr id="32" name="Rectangle 31"/>
          <p:cNvSpPr/>
          <p:nvPr/>
        </p:nvSpPr>
        <p:spPr bwMode="auto">
          <a:xfrm>
            <a:off x="1712360" y="5058132"/>
            <a:ext cx="2467230" cy="1194363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Time Variant</a:t>
            </a:r>
            <a:endParaRPr lang="en-US" sz="26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463312" y="5058132"/>
            <a:ext cx="1187925" cy="1194363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4308024" y="5058132"/>
            <a:ext cx="4386186" cy="119436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Usually Time dimension is the center and many subjects can be analyzed by it. </a:t>
            </a:r>
            <a:endParaRPr lang="he-IL" sz="1400" dirty="0" smtClean="0">
              <a:solidFill>
                <a:schemeClr val="lt1">
                  <a:alpha val="99000"/>
                </a:schemeClr>
              </a:solidFill>
            </a:endParaRPr>
          </a:p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It’s possible to analyze by Day, Month, Quarter, Year or by Time based events</a:t>
            </a:r>
            <a:endParaRPr lang="en-US" sz="1400" dirty="0">
              <a:solidFill>
                <a:schemeClr val="lt1">
                  <a:alpha val="99000"/>
                </a:schemeClr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093" y="5395097"/>
            <a:ext cx="523875" cy="47625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011" y="1511043"/>
            <a:ext cx="565189" cy="538417"/>
          </a:xfrm>
          <a:prstGeom prst="rect">
            <a:avLst/>
          </a:prstGeom>
          <a:solidFill>
            <a:srgbClr val="ED1933"/>
          </a:solidFill>
        </p:spPr>
      </p:pic>
    </p:spTree>
    <p:extLst>
      <p:ext uri="{BB962C8B-B14F-4D97-AF65-F5344CB8AC3E}">
        <p14:creationId xmlns:p14="http://schemas.microsoft.com/office/powerpoint/2010/main" val="1012058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24" grpId="0" animBg="1"/>
      <p:bldP spid="25" grpId="0" animBg="1"/>
      <p:bldP spid="26" grpId="0" animBg="1"/>
      <p:bldP spid="32" grpId="0" animBg="1"/>
      <p:bldP spid="33" grpId="0" animBg="1"/>
      <p:bldP spid="3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is the Datawarehouse different from an OLTP</a:t>
            </a:r>
            <a:endParaRPr lang="en-US" dirty="0"/>
          </a:p>
        </p:txBody>
      </p:sp>
      <p:sp>
        <p:nvSpPr>
          <p:cNvPr id="26" name="Rectangle 25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16205" y="1030939"/>
            <a:ext cx="4389120" cy="281615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1148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Subject Oriented</a:t>
            </a:r>
            <a:endParaRPr lang="he-IL" sz="1600" dirty="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Large </a:t>
            </a: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(hundreds of GB up to several </a:t>
            </a: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TB and today even PB)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Historic data</a:t>
            </a: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De-normalized table structure (few tables, many columns per table)</a:t>
            </a: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Batch updates</a:t>
            </a: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Usually very complex </a:t>
            </a: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queries</a:t>
            </a:r>
          </a:p>
        </p:txBody>
      </p:sp>
      <p:sp>
        <p:nvSpPr>
          <p:cNvPr id="27" name="Rectangle 26"/>
          <p:cNvSpPr/>
          <p:nvPr>
            <p:custDataLst>
              <p:tags r:id="rId2"/>
            </p:custDataLst>
          </p:nvPr>
        </p:nvSpPr>
        <p:spPr bwMode="auto">
          <a:xfrm>
            <a:off x="116205" y="1030939"/>
            <a:ext cx="4389120" cy="40010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914023"/>
            <a:r>
              <a:rPr lang="en-US" sz="2000" dirty="0" smtClean="0"/>
              <a:t>Data Warehouse</a:t>
            </a:r>
            <a:endParaRPr lang="en-US" sz="2000" dirty="0"/>
          </a:p>
        </p:txBody>
      </p:sp>
      <p:sp>
        <p:nvSpPr>
          <p:cNvPr id="28" name="Rectangle 27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640580" y="1030939"/>
            <a:ext cx="4389120" cy="281615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1148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Transaction </a:t>
            </a: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Oriented</a:t>
            </a: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Small </a:t>
            </a: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(MB up to several GB)</a:t>
            </a: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Current data</a:t>
            </a: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Normalized table structure (many tables, few columns per table)</a:t>
            </a: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Continuous </a:t>
            </a: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updates for small amount of rows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Simple to complex </a:t>
            </a: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queries</a:t>
            </a:r>
          </a:p>
        </p:txBody>
      </p:sp>
      <p:sp>
        <p:nvSpPr>
          <p:cNvPr id="29" name="Rectangle 28"/>
          <p:cNvSpPr/>
          <p:nvPr>
            <p:custDataLst>
              <p:tags r:id="rId4"/>
            </p:custDataLst>
          </p:nvPr>
        </p:nvSpPr>
        <p:spPr bwMode="auto">
          <a:xfrm>
            <a:off x="4640580" y="1030938"/>
            <a:ext cx="4389120" cy="40010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914023"/>
            <a:r>
              <a:rPr lang="en-US" sz="2000" dirty="0" smtClean="0"/>
              <a:t>Operational System</a:t>
            </a:r>
            <a:endParaRPr lang="en-US" sz="2000" dirty="0"/>
          </a:p>
        </p:txBody>
      </p:sp>
      <p:sp>
        <p:nvSpPr>
          <p:cNvPr id="30" name="Rectangle 29"/>
          <p:cNvSpPr/>
          <p:nvPr>
            <p:custDataLst>
              <p:tags r:id="rId5"/>
            </p:custDataLst>
          </p:nvPr>
        </p:nvSpPr>
        <p:spPr bwMode="auto">
          <a:xfrm>
            <a:off x="116205" y="3932051"/>
            <a:ext cx="8913495" cy="481084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indent="-228600"/>
            <a:r>
              <a:rPr lang="en-US" sz="2000" dirty="0" smtClean="0"/>
              <a:t>Requires Pre-Processing data with an ETL/ELT Mechanism</a:t>
            </a:r>
            <a:endParaRPr lang="en-US" sz="2000" dirty="0"/>
          </a:p>
        </p:txBody>
      </p:sp>
      <p:sp>
        <p:nvSpPr>
          <p:cNvPr id="31" name="Rectangle 30"/>
          <p:cNvSpPr/>
          <p:nvPr>
            <p:custDataLst>
              <p:tags r:id="rId6"/>
            </p:custDataLst>
          </p:nvPr>
        </p:nvSpPr>
        <p:spPr bwMode="auto">
          <a:xfrm>
            <a:off x="115252" y="4482938"/>
            <a:ext cx="8913495" cy="481084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indent="-228600"/>
            <a:r>
              <a:rPr lang="en-US" sz="2000" dirty="0"/>
              <a:t>Allows a high view helps recognize patterns and properties</a:t>
            </a:r>
          </a:p>
        </p:txBody>
      </p:sp>
      <p:sp>
        <p:nvSpPr>
          <p:cNvPr id="32" name="Rectangle 31"/>
          <p:cNvSpPr/>
          <p:nvPr>
            <p:custDataLst>
              <p:tags r:id="rId7"/>
            </p:custDataLst>
          </p:nvPr>
        </p:nvSpPr>
        <p:spPr bwMode="auto">
          <a:xfrm>
            <a:off x="115252" y="5040897"/>
            <a:ext cx="8913495" cy="481084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indent="-228600"/>
            <a:r>
              <a:rPr lang="en-US" sz="2000" dirty="0"/>
              <a:t>Building the DWH </a:t>
            </a:r>
            <a:r>
              <a:rPr lang="en-US" sz="2000" dirty="0" smtClean="0"/>
              <a:t>is </a:t>
            </a:r>
            <a:r>
              <a:rPr lang="en-US" sz="2000" dirty="0"/>
              <a:t>just the beginning – other layers exist</a:t>
            </a:r>
          </a:p>
        </p:txBody>
      </p:sp>
      <p:sp>
        <p:nvSpPr>
          <p:cNvPr id="33" name="Rectangle 32"/>
          <p:cNvSpPr/>
          <p:nvPr>
            <p:custDataLst>
              <p:tags r:id="rId8"/>
            </p:custDataLst>
          </p:nvPr>
        </p:nvSpPr>
        <p:spPr bwMode="auto">
          <a:xfrm>
            <a:off x="115251" y="5592158"/>
            <a:ext cx="8913495" cy="481084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indent="-228600"/>
            <a:r>
              <a:rPr lang="en-US" sz="2000" dirty="0"/>
              <a:t>Unified data repository to achieve ‘</a:t>
            </a:r>
            <a:r>
              <a:rPr lang="en-US" sz="2000" b="1" dirty="0"/>
              <a:t>Single Version of the truth</a:t>
            </a:r>
            <a:r>
              <a:rPr lang="en-US" sz="2000" dirty="0"/>
              <a:t>’</a:t>
            </a:r>
          </a:p>
        </p:txBody>
      </p:sp>
    </p:spTree>
    <p:extLst>
      <p:ext uri="{BB962C8B-B14F-4D97-AF65-F5344CB8AC3E}">
        <p14:creationId xmlns:p14="http://schemas.microsoft.com/office/powerpoint/2010/main" val="267538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 animBg="1"/>
      <p:bldP spid="3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15153"/>
            <a:ext cx="7772400" cy="537884"/>
          </a:xfrm>
        </p:spPr>
        <p:txBody>
          <a:bodyPr>
            <a:normAutofit/>
          </a:bodyPr>
          <a:lstStyle/>
          <a:p>
            <a:r>
              <a:rPr lang="en-US" dirty="0">
                <a:cs typeface="Arial" pitchFamily="34" charset="0"/>
              </a:rPr>
              <a:t>What Is a Data Warehouse Used for?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18160" y="1143000"/>
            <a:ext cx="7772400" cy="5074920"/>
          </a:xfrm>
        </p:spPr>
        <p:txBody>
          <a:bodyPr/>
          <a:lstStyle/>
          <a:p>
            <a:r>
              <a:rPr lang="en-US" sz="2800" dirty="0">
                <a:cs typeface="Times New Roman" pitchFamily="18" charset="0"/>
              </a:rPr>
              <a:t>Knowledge discovery</a:t>
            </a:r>
          </a:p>
          <a:p>
            <a:pPr lvl="1"/>
            <a:r>
              <a:rPr lang="en-US" sz="2800" dirty="0" smtClean="0">
                <a:cs typeface="Times New Roman" pitchFamily="18" charset="0"/>
              </a:rPr>
              <a:t>Creating consolidated </a:t>
            </a:r>
            <a:r>
              <a:rPr lang="en-US" sz="2800" dirty="0">
                <a:cs typeface="Times New Roman" pitchFamily="18" charset="0"/>
              </a:rPr>
              <a:t>reports</a:t>
            </a:r>
          </a:p>
          <a:p>
            <a:pPr lvl="1"/>
            <a:r>
              <a:rPr lang="en-US" sz="2800" dirty="0">
                <a:cs typeface="Times New Roman" pitchFamily="18" charset="0"/>
              </a:rPr>
              <a:t>Finding relationships and correlations</a:t>
            </a:r>
          </a:p>
          <a:p>
            <a:pPr lvl="1"/>
            <a:r>
              <a:rPr lang="en-US" sz="2800" dirty="0">
                <a:cs typeface="Times New Roman" pitchFamily="18" charset="0"/>
              </a:rPr>
              <a:t>Data mining</a:t>
            </a:r>
          </a:p>
          <a:p>
            <a:pPr lvl="1"/>
            <a:r>
              <a:rPr lang="en-US" sz="2800" dirty="0">
                <a:cs typeface="Times New Roman" pitchFamily="18" charset="0"/>
              </a:rPr>
              <a:t>Examples</a:t>
            </a:r>
          </a:p>
          <a:p>
            <a:pPr lvl="2"/>
            <a:r>
              <a:rPr lang="en-US" sz="2800" dirty="0"/>
              <a:t>Banks identifying credit risks</a:t>
            </a:r>
          </a:p>
          <a:p>
            <a:pPr lvl="2"/>
            <a:r>
              <a:rPr lang="en-US" sz="2800" dirty="0"/>
              <a:t>Insurance companies searching for fraud</a:t>
            </a:r>
          </a:p>
          <a:p>
            <a:pPr lvl="2"/>
            <a:r>
              <a:rPr lang="en-US" sz="2800" dirty="0"/>
              <a:t>Medical research</a:t>
            </a:r>
          </a:p>
        </p:txBody>
      </p:sp>
    </p:spTree>
    <p:extLst>
      <p:ext uri="{BB962C8B-B14F-4D97-AF65-F5344CB8AC3E}">
        <p14:creationId xmlns:p14="http://schemas.microsoft.com/office/powerpoint/2010/main" val="1983486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460" y="3079116"/>
            <a:ext cx="8702040" cy="563562"/>
          </a:xfrm>
        </p:spPr>
        <p:txBody>
          <a:bodyPr/>
          <a:lstStyle/>
          <a:p>
            <a:r>
              <a:rPr lang="en-US" sz="3200" dirty="0" smtClean="0">
                <a:solidFill>
                  <a:srgbClr val="464646"/>
                </a:solidFill>
              </a:rPr>
              <a:t>Why do we need a data warehouse</a:t>
            </a:r>
            <a:br>
              <a:rPr lang="en-US" sz="3200" dirty="0" smtClean="0">
                <a:solidFill>
                  <a:srgbClr val="464646"/>
                </a:solidFill>
              </a:rPr>
            </a:br>
            <a:r>
              <a:rPr lang="en-US" sz="3200" dirty="0" smtClean="0">
                <a:solidFill>
                  <a:srgbClr val="464646"/>
                </a:solidFill>
              </a:rPr>
              <a:t>at HAII?</a:t>
            </a:r>
            <a:endParaRPr lang="en-US" sz="32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620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) Many Data sources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1714500" y="1622611"/>
            <a:ext cx="1943099" cy="89647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lemetering</a:t>
            </a:r>
          </a:p>
        </p:txBody>
      </p:sp>
      <p:sp>
        <p:nvSpPr>
          <p:cNvPr id="5" name="Snip Same Side Corner Rectangle 4"/>
          <p:cNvSpPr/>
          <p:nvPr/>
        </p:nvSpPr>
        <p:spPr>
          <a:xfrm>
            <a:off x="4320988" y="1658470"/>
            <a:ext cx="1541930" cy="1290918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Egat</a:t>
            </a:r>
            <a:endParaRPr lang="en-US" dirty="0"/>
          </a:p>
        </p:txBody>
      </p:sp>
      <p:sp>
        <p:nvSpPr>
          <p:cNvPr id="6" name="Snip Diagonal Corner Rectangle 5"/>
          <p:cNvSpPr/>
          <p:nvPr/>
        </p:nvSpPr>
        <p:spPr>
          <a:xfrm>
            <a:off x="2722581" y="4462184"/>
            <a:ext cx="1326776" cy="950258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gat1</a:t>
            </a:r>
          </a:p>
        </p:txBody>
      </p:sp>
      <p:sp>
        <p:nvSpPr>
          <p:cNvPr id="8" name="Isosceles Triangle 7"/>
          <p:cNvSpPr/>
          <p:nvPr/>
        </p:nvSpPr>
        <p:spPr>
          <a:xfrm>
            <a:off x="7724887" y="4303058"/>
            <a:ext cx="1175274" cy="609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id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611418" y="3505200"/>
            <a:ext cx="976257" cy="5737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torm</a:t>
            </a:r>
          </a:p>
        </p:txBody>
      </p:sp>
      <p:sp>
        <p:nvSpPr>
          <p:cNvPr id="10" name="Snip Diagonal Corner Rectangle 9"/>
          <p:cNvSpPr/>
          <p:nvPr/>
        </p:nvSpPr>
        <p:spPr>
          <a:xfrm>
            <a:off x="4049357" y="3228637"/>
            <a:ext cx="1874969" cy="770964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amutsakorn</a:t>
            </a:r>
            <a:endParaRPr lang="en-US" dirty="0"/>
          </a:p>
        </p:txBody>
      </p:sp>
      <p:sp>
        <p:nvSpPr>
          <p:cNvPr id="11" name="Snip Same Side Corner Rectangle 10"/>
          <p:cNvSpPr/>
          <p:nvPr/>
        </p:nvSpPr>
        <p:spPr>
          <a:xfrm>
            <a:off x="475128" y="2993314"/>
            <a:ext cx="2052919" cy="470647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thaifloodwatch</a:t>
            </a:r>
            <a:endParaRPr lang="en-US" dirty="0"/>
          </a:p>
        </p:txBody>
      </p:sp>
      <p:sp>
        <p:nvSpPr>
          <p:cNvPr id="13" name="Isosceles Triangle 12"/>
          <p:cNvSpPr/>
          <p:nvPr/>
        </p:nvSpPr>
        <p:spPr>
          <a:xfrm>
            <a:off x="570601" y="4988859"/>
            <a:ext cx="1658473" cy="86957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navy</a:t>
            </a:r>
          </a:p>
        </p:txBody>
      </p:sp>
      <p:sp>
        <p:nvSpPr>
          <p:cNvPr id="17" name="Snip Same Side Corner Rectangle 16"/>
          <p:cNvSpPr/>
          <p:nvPr/>
        </p:nvSpPr>
        <p:spPr>
          <a:xfrm>
            <a:off x="6185199" y="4098661"/>
            <a:ext cx="943087" cy="675939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bma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5372100" y="5412442"/>
            <a:ext cx="1756186" cy="5737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nhc_laravel</a:t>
            </a:r>
            <a:endParaRPr lang="en-US" dirty="0"/>
          </a:p>
        </p:txBody>
      </p:sp>
      <p:sp>
        <p:nvSpPr>
          <p:cNvPr id="19" name="Isosceles Triangle 18"/>
          <p:cNvSpPr/>
          <p:nvPr/>
        </p:nvSpPr>
        <p:spPr>
          <a:xfrm>
            <a:off x="6580408" y="2079811"/>
            <a:ext cx="2000030" cy="86957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rol</a:t>
            </a:r>
          </a:p>
        </p:txBody>
      </p:sp>
    </p:spTree>
    <p:extLst>
      <p:ext uri="{BB962C8B-B14F-4D97-AF65-F5344CB8AC3E}">
        <p14:creationId xmlns:p14="http://schemas.microsoft.com/office/powerpoint/2010/main" val="3253662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) </a:t>
            </a:r>
            <a:r>
              <a:rPr lang="en-US" dirty="0"/>
              <a:t>Complex </a:t>
            </a:r>
            <a:r>
              <a:rPr lang="en-US" dirty="0" smtClean="0"/>
              <a:t>relations make queries difficul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18" y="1183343"/>
            <a:ext cx="8193741" cy="5077230"/>
          </a:xfrm>
          <a:prstGeom prst="rect">
            <a:avLst/>
          </a:prstGeom>
        </p:spPr>
      </p:pic>
      <p:sp>
        <p:nvSpPr>
          <p:cNvPr id="14" name="Snip Same Side Corner Rectangle 13"/>
          <p:cNvSpPr/>
          <p:nvPr/>
        </p:nvSpPr>
        <p:spPr>
          <a:xfrm>
            <a:off x="197221" y="1066799"/>
            <a:ext cx="1227719" cy="537885"/>
          </a:xfrm>
          <a:prstGeom prst="snip2Same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586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) </a:t>
            </a:r>
            <a:r>
              <a:rPr lang="en-US" dirty="0"/>
              <a:t>Separate </a:t>
            </a:r>
            <a:r>
              <a:rPr lang="en-US" dirty="0" smtClean="0"/>
              <a:t>research and decision support</a:t>
            </a:r>
            <a:endParaRPr lang="en-US" dirty="0"/>
          </a:p>
        </p:txBody>
      </p:sp>
      <p:sp>
        <p:nvSpPr>
          <p:cNvPr id="9" name="Rectangle 8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16205" y="1030939"/>
            <a:ext cx="4389120" cy="224676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1148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Complex questions</a:t>
            </a:r>
          </a:p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Requires a consolidated views</a:t>
            </a:r>
          </a:p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Queries may be very heavy</a:t>
            </a:r>
          </a:p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May require enrichment with additional data</a:t>
            </a:r>
          </a:p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High importance for historical data</a:t>
            </a: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 bwMode="auto">
          <a:xfrm>
            <a:off x="116205" y="1030939"/>
            <a:ext cx="4389120" cy="40010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914023"/>
            <a:r>
              <a:rPr lang="en-US" sz="2000" dirty="0" smtClean="0"/>
              <a:t>Research &amp; DSS</a:t>
            </a:r>
            <a:endParaRPr lang="en-US" sz="2000" dirty="0"/>
          </a:p>
        </p:txBody>
      </p:sp>
      <p:sp>
        <p:nvSpPr>
          <p:cNvPr id="11" name="Rectangle 10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640580" y="1030939"/>
            <a:ext cx="4389120" cy="224676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1148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Simple operations</a:t>
            </a: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Based on atomic level work</a:t>
            </a: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Must be fast and to the point</a:t>
            </a: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Operations are done only with operational data</a:t>
            </a: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Usually refers to current state</a:t>
            </a:r>
          </a:p>
        </p:txBody>
      </p:sp>
      <p:sp>
        <p:nvSpPr>
          <p:cNvPr id="12" name="Rectangle 11"/>
          <p:cNvSpPr/>
          <p:nvPr>
            <p:custDataLst>
              <p:tags r:id="rId4"/>
            </p:custDataLst>
          </p:nvPr>
        </p:nvSpPr>
        <p:spPr bwMode="auto">
          <a:xfrm>
            <a:off x="4640580" y="1030938"/>
            <a:ext cx="4389120" cy="40010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914023"/>
            <a:r>
              <a:rPr lang="en-US" sz="2000" dirty="0" smtClean="0"/>
              <a:t>Operational</a:t>
            </a:r>
            <a:endParaRPr lang="en-US" sz="2000" dirty="0"/>
          </a:p>
        </p:txBody>
      </p:sp>
      <p:sp>
        <p:nvSpPr>
          <p:cNvPr id="16" name="Rectangle 15"/>
          <p:cNvSpPr/>
          <p:nvPr>
            <p:custDataLst>
              <p:tags r:id="rId5"/>
            </p:custDataLst>
          </p:nvPr>
        </p:nvSpPr>
        <p:spPr bwMode="auto">
          <a:xfrm>
            <a:off x="5280660" y="3413503"/>
            <a:ext cx="3116580" cy="40010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914023"/>
            <a:r>
              <a:rPr lang="en-US" sz="2000" dirty="0" smtClean="0"/>
              <a:t>Users</a:t>
            </a:r>
            <a:endParaRPr lang="en-US" sz="2000" dirty="0"/>
          </a:p>
        </p:txBody>
      </p:sp>
      <p:sp>
        <p:nvSpPr>
          <p:cNvPr id="17" name="Rectangle 16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280660" y="3808723"/>
            <a:ext cx="3116580" cy="200054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1148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dirty="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42784" y="3916392"/>
            <a:ext cx="952480" cy="95248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704775" y="4050985"/>
            <a:ext cx="808134" cy="80813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834174" y="4874706"/>
            <a:ext cx="163217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Information </a:t>
            </a:r>
          </a:p>
          <a:p>
            <a:pPr algn="ctr"/>
            <a:r>
              <a:rPr lang="en-US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workers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5295341" y="4847004"/>
            <a:ext cx="152234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Operational</a:t>
            </a:r>
          </a:p>
          <a:p>
            <a:pPr algn="ctr"/>
            <a:r>
              <a:rPr lang="en-US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Systems</a:t>
            </a:r>
            <a:endParaRPr lang="en-US" dirty="0"/>
          </a:p>
        </p:txBody>
      </p:sp>
      <p:sp>
        <p:nvSpPr>
          <p:cNvPr id="20" name="Rectangle 19"/>
          <p:cNvSpPr/>
          <p:nvPr>
            <p:custDataLst>
              <p:tags r:id="rId7"/>
            </p:custDataLst>
          </p:nvPr>
        </p:nvSpPr>
        <p:spPr bwMode="auto">
          <a:xfrm>
            <a:off x="749099" y="3413503"/>
            <a:ext cx="3116580" cy="40010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914023"/>
            <a:r>
              <a:rPr lang="en-US" sz="2000" dirty="0" smtClean="0"/>
              <a:t>Users</a:t>
            </a:r>
            <a:endParaRPr lang="en-US" sz="2000" dirty="0"/>
          </a:p>
        </p:txBody>
      </p:sp>
      <p:sp>
        <p:nvSpPr>
          <p:cNvPr id="21" name="Rectangle 20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749099" y="3808723"/>
            <a:ext cx="3116580" cy="200054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1148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sz="1600" dirty="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355953" y="4874706"/>
            <a:ext cx="134043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Managers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&amp; Decision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Maker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78080" y="4854624"/>
            <a:ext cx="11576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Analysts</a:t>
            </a: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993429" y="3900805"/>
            <a:ext cx="952480" cy="958314"/>
            <a:chOff x="917512" y="3652745"/>
            <a:chExt cx="1432088" cy="1440160"/>
          </a:xfrm>
        </p:grpSpPr>
        <p:pic>
          <p:nvPicPr>
            <p:cNvPr id="26" name="Picture 3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14997" y="3916392"/>
              <a:ext cx="1126651" cy="1172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Rectangle 26"/>
            <p:cNvSpPr/>
            <p:nvPr/>
          </p:nvSpPr>
          <p:spPr bwMode="auto">
            <a:xfrm>
              <a:off x="917512" y="3652745"/>
              <a:ext cx="1432088" cy="1440160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545396" y="3900805"/>
            <a:ext cx="962613" cy="973901"/>
            <a:chOff x="2350995" y="3685756"/>
            <a:chExt cx="1432088" cy="1440160"/>
          </a:xfrm>
        </p:grpSpPr>
        <p:sp>
          <p:nvSpPr>
            <p:cNvPr id="29" name="Man's Body"/>
            <p:cNvSpPr>
              <a:spLocks/>
            </p:cNvSpPr>
            <p:nvPr/>
          </p:nvSpPr>
          <p:spPr bwMode="auto">
            <a:xfrm flipH="1">
              <a:off x="2486939" y="3949403"/>
              <a:ext cx="1168112" cy="1176513"/>
            </a:xfrm>
            <a:custGeom>
              <a:avLst/>
              <a:gdLst>
                <a:gd name="connsiteX0" fmla="*/ 452684 w 673603"/>
                <a:gd name="connsiteY0" fmla="*/ 499119 h 858249"/>
                <a:gd name="connsiteX1" fmla="*/ 364244 w 673603"/>
                <a:gd name="connsiteY1" fmla="*/ 552651 h 858249"/>
                <a:gd name="connsiteX2" fmla="*/ 310399 w 673603"/>
                <a:gd name="connsiteY2" fmla="*/ 763544 h 858249"/>
                <a:gd name="connsiteX3" fmla="*/ 343737 w 673603"/>
                <a:gd name="connsiteY3" fmla="*/ 794501 h 858249"/>
                <a:gd name="connsiteX4" fmla="*/ 367549 w 673603"/>
                <a:gd name="connsiteY4" fmla="*/ 777832 h 858249"/>
                <a:gd name="connsiteX5" fmla="*/ 362787 w 673603"/>
                <a:gd name="connsiteY5" fmla="*/ 754019 h 858249"/>
                <a:gd name="connsiteX6" fmla="*/ 386599 w 673603"/>
                <a:gd name="connsiteY6" fmla="*/ 746876 h 858249"/>
                <a:gd name="connsiteX7" fmla="*/ 398506 w 673603"/>
                <a:gd name="connsiteY7" fmla="*/ 777832 h 858249"/>
                <a:gd name="connsiteX8" fmla="*/ 343737 w 673603"/>
                <a:gd name="connsiteY8" fmla="*/ 815932 h 858249"/>
                <a:gd name="connsiteX9" fmla="*/ 279443 w 673603"/>
                <a:gd name="connsiteY9" fmla="*/ 773069 h 858249"/>
                <a:gd name="connsiteX10" fmla="*/ 331831 w 673603"/>
                <a:gd name="connsiteY10" fmla="*/ 577807 h 858249"/>
                <a:gd name="connsiteX11" fmla="*/ 305637 w 673603"/>
                <a:gd name="connsiteY11" fmla="*/ 563519 h 858249"/>
                <a:gd name="connsiteX12" fmla="*/ 311779 w 673603"/>
                <a:gd name="connsiteY12" fmla="*/ 547549 h 858249"/>
                <a:gd name="connsiteX13" fmla="*/ 237741 w 673603"/>
                <a:gd name="connsiteY13" fmla="*/ 500485 h 858249"/>
                <a:gd name="connsiteX14" fmla="*/ 224038 w 673603"/>
                <a:gd name="connsiteY14" fmla="*/ 528452 h 858249"/>
                <a:gd name="connsiteX15" fmla="*/ 153447 w 673603"/>
                <a:gd name="connsiteY15" fmla="*/ 578809 h 858249"/>
                <a:gd name="connsiteX16" fmla="*/ 8401 w 673603"/>
                <a:gd name="connsiteY16" fmla="*/ 653033 h 858249"/>
                <a:gd name="connsiteX17" fmla="*/ 67793 w 673603"/>
                <a:gd name="connsiteY17" fmla="*/ 850206 h 858249"/>
                <a:gd name="connsiteX18" fmla="*/ 124357 w 673603"/>
                <a:gd name="connsiteY18" fmla="*/ 749115 h 858249"/>
                <a:gd name="connsiteX19" fmla="*/ 100924 w 673603"/>
                <a:gd name="connsiteY19" fmla="*/ 852938 h 858249"/>
                <a:gd name="connsiteX20" fmla="*/ 488320 w 673603"/>
                <a:gd name="connsiteY20" fmla="*/ 858165 h 858249"/>
                <a:gd name="connsiteX21" fmla="*/ 488345 w 673603"/>
                <a:gd name="connsiteY21" fmla="*/ 858249 h 858249"/>
                <a:gd name="connsiteX22" fmla="*/ 489349 w 673603"/>
                <a:gd name="connsiteY22" fmla="*/ 858186 h 858249"/>
                <a:gd name="connsiteX23" fmla="*/ 492440 w 673603"/>
                <a:gd name="connsiteY23" fmla="*/ 858249 h 858249"/>
                <a:gd name="connsiteX24" fmla="*/ 492755 w 673603"/>
                <a:gd name="connsiteY24" fmla="*/ 857971 h 858249"/>
                <a:gd name="connsiteX25" fmla="*/ 572680 w 673603"/>
                <a:gd name="connsiteY25" fmla="*/ 852938 h 858249"/>
                <a:gd name="connsiteX26" fmla="*/ 549247 w 673603"/>
                <a:gd name="connsiteY26" fmla="*/ 749115 h 858249"/>
                <a:gd name="connsiteX27" fmla="*/ 605811 w 673603"/>
                <a:gd name="connsiteY27" fmla="*/ 850206 h 858249"/>
                <a:gd name="connsiteX28" fmla="*/ 665203 w 673603"/>
                <a:gd name="connsiteY28" fmla="*/ 653033 h 858249"/>
                <a:gd name="connsiteX29" fmla="*/ 520157 w 673603"/>
                <a:gd name="connsiteY29" fmla="*/ 578809 h 858249"/>
                <a:gd name="connsiteX30" fmla="*/ 416545 w 673603"/>
                <a:gd name="connsiteY30" fmla="*/ 619374 h 858249"/>
                <a:gd name="connsiteX31" fmla="*/ 402735 w 673603"/>
                <a:gd name="connsiteY31" fmla="*/ 611762 h 858249"/>
                <a:gd name="connsiteX32" fmla="*/ 480966 w 673603"/>
                <a:gd name="connsiteY32" fmla="*/ 558317 h 858249"/>
                <a:gd name="connsiteX33" fmla="*/ 452684 w 673603"/>
                <a:gd name="connsiteY33" fmla="*/ 499119 h 858249"/>
                <a:gd name="connsiteX34" fmla="*/ 360713 w 673603"/>
                <a:gd name="connsiteY34" fmla="*/ 167 h 858249"/>
                <a:gd name="connsiteX35" fmla="*/ 241395 w 673603"/>
                <a:gd name="connsiteY35" fmla="*/ 59839 h 858249"/>
                <a:gd name="connsiteX36" fmla="*/ 169081 w 673603"/>
                <a:gd name="connsiteY36" fmla="*/ 160974 h 858249"/>
                <a:gd name="connsiteX37" fmla="*/ 192109 w 673603"/>
                <a:gd name="connsiteY37" fmla="*/ 186030 h 858249"/>
                <a:gd name="connsiteX38" fmla="*/ 209480 w 673603"/>
                <a:gd name="connsiteY38" fmla="*/ 168263 h 858249"/>
                <a:gd name="connsiteX39" fmla="*/ 352895 w 673603"/>
                <a:gd name="connsiteY39" fmla="*/ 122251 h 858249"/>
                <a:gd name="connsiteX40" fmla="*/ 205036 w 673603"/>
                <a:gd name="connsiteY40" fmla="*/ 213819 h 858249"/>
                <a:gd name="connsiteX41" fmla="*/ 205036 w 673603"/>
                <a:gd name="connsiteY41" fmla="*/ 254364 h 858249"/>
                <a:gd name="connsiteX42" fmla="*/ 186453 w 673603"/>
                <a:gd name="connsiteY42" fmla="*/ 269397 h 858249"/>
                <a:gd name="connsiteX43" fmla="*/ 206248 w 673603"/>
                <a:gd name="connsiteY43" fmla="*/ 358232 h 858249"/>
                <a:gd name="connsiteX44" fmla="*/ 217560 w 673603"/>
                <a:gd name="connsiteY44" fmla="*/ 365976 h 858249"/>
                <a:gd name="connsiteX45" fmla="*/ 265230 w 673603"/>
                <a:gd name="connsiteY45" fmla="*/ 473033 h 858249"/>
                <a:gd name="connsiteX46" fmla="*/ 352895 w 673603"/>
                <a:gd name="connsiteY46" fmla="*/ 522690 h 858249"/>
                <a:gd name="connsiteX47" fmla="*/ 447024 w 673603"/>
                <a:gd name="connsiteY47" fmla="*/ 460733 h 858249"/>
                <a:gd name="connsiteX48" fmla="*/ 488231 w 673603"/>
                <a:gd name="connsiteY48" fmla="*/ 361421 h 858249"/>
                <a:gd name="connsiteX49" fmla="*/ 521357 w 673603"/>
                <a:gd name="connsiteY49" fmla="*/ 283520 h 858249"/>
                <a:gd name="connsiteX50" fmla="*/ 508430 w 673603"/>
                <a:gd name="connsiteY50" fmla="*/ 261653 h 858249"/>
                <a:gd name="connsiteX51" fmla="*/ 535901 w 673603"/>
                <a:gd name="connsiteY51" fmla="*/ 181930 h 858249"/>
                <a:gd name="connsiteX52" fmla="*/ 426016 w 673603"/>
                <a:gd name="connsiteY52" fmla="*/ 17472 h 858249"/>
                <a:gd name="connsiteX53" fmla="*/ 360713 w 673603"/>
                <a:gd name="connsiteY53" fmla="*/ 167 h 858249"/>
                <a:gd name="connsiteX0" fmla="*/ 452684 w 673603"/>
                <a:gd name="connsiteY0" fmla="*/ 499119 h 858249"/>
                <a:gd name="connsiteX1" fmla="*/ 364244 w 673603"/>
                <a:gd name="connsiteY1" fmla="*/ 552651 h 858249"/>
                <a:gd name="connsiteX2" fmla="*/ 303255 w 673603"/>
                <a:gd name="connsiteY2" fmla="*/ 763544 h 858249"/>
                <a:gd name="connsiteX3" fmla="*/ 343737 w 673603"/>
                <a:gd name="connsiteY3" fmla="*/ 794501 h 858249"/>
                <a:gd name="connsiteX4" fmla="*/ 367549 w 673603"/>
                <a:gd name="connsiteY4" fmla="*/ 777832 h 858249"/>
                <a:gd name="connsiteX5" fmla="*/ 362787 w 673603"/>
                <a:gd name="connsiteY5" fmla="*/ 754019 h 858249"/>
                <a:gd name="connsiteX6" fmla="*/ 386599 w 673603"/>
                <a:gd name="connsiteY6" fmla="*/ 746876 h 858249"/>
                <a:gd name="connsiteX7" fmla="*/ 398506 w 673603"/>
                <a:gd name="connsiteY7" fmla="*/ 777832 h 858249"/>
                <a:gd name="connsiteX8" fmla="*/ 343737 w 673603"/>
                <a:gd name="connsiteY8" fmla="*/ 815932 h 858249"/>
                <a:gd name="connsiteX9" fmla="*/ 279443 w 673603"/>
                <a:gd name="connsiteY9" fmla="*/ 773069 h 858249"/>
                <a:gd name="connsiteX10" fmla="*/ 331831 w 673603"/>
                <a:gd name="connsiteY10" fmla="*/ 577807 h 858249"/>
                <a:gd name="connsiteX11" fmla="*/ 305637 w 673603"/>
                <a:gd name="connsiteY11" fmla="*/ 563519 h 858249"/>
                <a:gd name="connsiteX12" fmla="*/ 311779 w 673603"/>
                <a:gd name="connsiteY12" fmla="*/ 547549 h 858249"/>
                <a:gd name="connsiteX13" fmla="*/ 237741 w 673603"/>
                <a:gd name="connsiteY13" fmla="*/ 500485 h 858249"/>
                <a:gd name="connsiteX14" fmla="*/ 224038 w 673603"/>
                <a:gd name="connsiteY14" fmla="*/ 528452 h 858249"/>
                <a:gd name="connsiteX15" fmla="*/ 153447 w 673603"/>
                <a:gd name="connsiteY15" fmla="*/ 578809 h 858249"/>
                <a:gd name="connsiteX16" fmla="*/ 8401 w 673603"/>
                <a:gd name="connsiteY16" fmla="*/ 653033 h 858249"/>
                <a:gd name="connsiteX17" fmla="*/ 67793 w 673603"/>
                <a:gd name="connsiteY17" fmla="*/ 850206 h 858249"/>
                <a:gd name="connsiteX18" fmla="*/ 124357 w 673603"/>
                <a:gd name="connsiteY18" fmla="*/ 749115 h 858249"/>
                <a:gd name="connsiteX19" fmla="*/ 100924 w 673603"/>
                <a:gd name="connsiteY19" fmla="*/ 852938 h 858249"/>
                <a:gd name="connsiteX20" fmla="*/ 488320 w 673603"/>
                <a:gd name="connsiteY20" fmla="*/ 858165 h 858249"/>
                <a:gd name="connsiteX21" fmla="*/ 488345 w 673603"/>
                <a:gd name="connsiteY21" fmla="*/ 858249 h 858249"/>
                <a:gd name="connsiteX22" fmla="*/ 489349 w 673603"/>
                <a:gd name="connsiteY22" fmla="*/ 858186 h 858249"/>
                <a:gd name="connsiteX23" fmla="*/ 492440 w 673603"/>
                <a:gd name="connsiteY23" fmla="*/ 858249 h 858249"/>
                <a:gd name="connsiteX24" fmla="*/ 492755 w 673603"/>
                <a:gd name="connsiteY24" fmla="*/ 857971 h 858249"/>
                <a:gd name="connsiteX25" fmla="*/ 572680 w 673603"/>
                <a:gd name="connsiteY25" fmla="*/ 852938 h 858249"/>
                <a:gd name="connsiteX26" fmla="*/ 549247 w 673603"/>
                <a:gd name="connsiteY26" fmla="*/ 749115 h 858249"/>
                <a:gd name="connsiteX27" fmla="*/ 605811 w 673603"/>
                <a:gd name="connsiteY27" fmla="*/ 850206 h 858249"/>
                <a:gd name="connsiteX28" fmla="*/ 665203 w 673603"/>
                <a:gd name="connsiteY28" fmla="*/ 653033 h 858249"/>
                <a:gd name="connsiteX29" fmla="*/ 520157 w 673603"/>
                <a:gd name="connsiteY29" fmla="*/ 578809 h 858249"/>
                <a:gd name="connsiteX30" fmla="*/ 416545 w 673603"/>
                <a:gd name="connsiteY30" fmla="*/ 619374 h 858249"/>
                <a:gd name="connsiteX31" fmla="*/ 402735 w 673603"/>
                <a:gd name="connsiteY31" fmla="*/ 611762 h 858249"/>
                <a:gd name="connsiteX32" fmla="*/ 480966 w 673603"/>
                <a:gd name="connsiteY32" fmla="*/ 558317 h 858249"/>
                <a:gd name="connsiteX33" fmla="*/ 452684 w 673603"/>
                <a:gd name="connsiteY33" fmla="*/ 499119 h 858249"/>
                <a:gd name="connsiteX34" fmla="*/ 360713 w 673603"/>
                <a:gd name="connsiteY34" fmla="*/ 167 h 858249"/>
                <a:gd name="connsiteX35" fmla="*/ 241395 w 673603"/>
                <a:gd name="connsiteY35" fmla="*/ 59839 h 858249"/>
                <a:gd name="connsiteX36" fmla="*/ 169081 w 673603"/>
                <a:gd name="connsiteY36" fmla="*/ 160974 h 858249"/>
                <a:gd name="connsiteX37" fmla="*/ 192109 w 673603"/>
                <a:gd name="connsiteY37" fmla="*/ 186030 h 858249"/>
                <a:gd name="connsiteX38" fmla="*/ 209480 w 673603"/>
                <a:gd name="connsiteY38" fmla="*/ 168263 h 858249"/>
                <a:gd name="connsiteX39" fmla="*/ 352895 w 673603"/>
                <a:gd name="connsiteY39" fmla="*/ 122251 h 858249"/>
                <a:gd name="connsiteX40" fmla="*/ 205036 w 673603"/>
                <a:gd name="connsiteY40" fmla="*/ 213819 h 858249"/>
                <a:gd name="connsiteX41" fmla="*/ 205036 w 673603"/>
                <a:gd name="connsiteY41" fmla="*/ 254364 h 858249"/>
                <a:gd name="connsiteX42" fmla="*/ 186453 w 673603"/>
                <a:gd name="connsiteY42" fmla="*/ 269397 h 858249"/>
                <a:gd name="connsiteX43" fmla="*/ 206248 w 673603"/>
                <a:gd name="connsiteY43" fmla="*/ 358232 h 858249"/>
                <a:gd name="connsiteX44" fmla="*/ 217560 w 673603"/>
                <a:gd name="connsiteY44" fmla="*/ 365976 h 858249"/>
                <a:gd name="connsiteX45" fmla="*/ 265230 w 673603"/>
                <a:gd name="connsiteY45" fmla="*/ 473033 h 858249"/>
                <a:gd name="connsiteX46" fmla="*/ 352895 w 673603"/>
                <a:gd name="connsiteY46" fmla="*/ 522690 h 858249"/>
                <a:gd name="connsiteX47" fmla="*/ 447024 w 673603"/>
                <a:gd name="connsiteY47" fmla="*/ 460733 h 858249"/>
                <a:gd name="connsiteX48" fmla="*/ 488231 w 673603"/>
                <a:gd name="connsiteY48" fmla="*/ 361421 h 858249"/>
                <a:gd name="connsiteX49" fmla="*/ 521357 w 673603"/>
                <a:gd name="connsiteY49" fmla="*/ 283520 h 858249"/>
                <a:gd name="connsiteX50" fmla="*/ 508430 w 673603"/>
                <a:gd name="connsiteY50" fmla="*/ 261653 h 858249"/>
                <a:gd name="connsiteX51" fmla="*/ 535901 w 673603"/>
                <a:gd name="connsiteY51" fmla="*/ 181930 h 858249"/>
                <a:gd name="connsiteX52" fmla="*/ 426016 w 673603"/>
                <a:gd name="connsiteY52" fmla="*/ 17472 h 858249"/>
                <a:gd name="connsiteX53" fmla="*/ 360713 w 673603"/>
                <a:gd name="connsiteY53" fmla="*/ 167 h 858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73603" h="858249">
                  <a:moveTo>
                    <a:pt x="452684" y="499119"/>
                  </a:moveTo>
                  <a:cubicBezTo>
                    <a:pt x="445971" y="497526"/>
                    <a:pt x="395679" y="543306"/>
                    <a:pt x="364244" y="552651"/>
                  </a:cubicBezTo>
                  <a:lnTo>
                    <a:pt x="303255" y="763544"/>
                  </a:lnTo>
                  <a:lnTo>
                    <a:pt x="343737" y="794501"/>
                  </a:lnTo>
                  <a:lnTo>
                    <a:pt x="367549" y="777832"/>
                  </a:lnTo>
                  <a:lnTo>
                    <a:pt x="362787" y="754019"/>
                  </a:lnTo>
                  <a:lnTo>
                    <a:pt x="386599" y="746876"/>
                  </a:lnTo>
                  <a:lnTo>
                    <a:pt x="398506" y="777832"/>
                  </a:lnTo>
                  <a:lnTo>
                    <a:pt x="343737" y="815932"/>
                  </a:lnTo>
                  <a:lnTo>
                    <a:pt x="279443" y="773069"/>
                  </a:lnTo>
                  <a:lnTo>
                    <a:pt x="331831" y="577807"/>
                  </a:lnTo>
                  <a:lnTo>
                    <a:pt x="305637" y="563519"/>
                  </a:lnTo>
                  <a:lnTo>
                    <a:pt x="311779" y="547549"/>
                  </a:lnTo>
                  <a:cubicBezTo>
                    <a:pt x="265856" y="532518"/>
                    <a:pt x="243484" y="498328"/>
                    <a:pt x="237741" y="500485"/>
                  </a:cubicBezTo>
                  <a:cubicBezTo>
                    <a:pt x="234382" y="501482"/>
                    <a:pt x="229709" y="514159"/>
                    <a:pt x="224038" y="528452"/>
                  </a:cubicBezTo>
                  <a:cubicBezTo>
                    <a:pt x="205457" y="548836"/>
                    <a:pt x="184781" y="572298"/>
                    <a:pt x="153447" y="578809"/>
                  </a:cubicBezTo>
                  <a:cubicBezTo>
                    <a:pt x="143751" y="576532"/>
                    <a:pt x="24966" y="624345"/>
                    <a:pt x="8401" y="653033"/>
                  </a:cubicBezTo>
                  <a:cubicBezTo>
                    <a:pt x="-8568" y="682176"/>
                    <a:pt x="-4932" y="756856"/>
                    <a:pt x="67793" y="850206"/>
                  </a:cubicBezTo>
                  <a:cubicBezTo>
                    <a:pt x="75470" y="796473"/>
                    <a:pt x="115065" y="755035"/>
                    <a:pt x="124357" y="749115"/>
                  </a:cubicBezTo>
                  <a:cubicBezTo>
                    <a:pt x="112236" y="775071"/>
                    <a:pt x="101328" y="823340"/>
                    <a:pt x="100924" y="852938"/>
                  </a:cubicBezTo>
                  <a:cubicBezTo>
                    <a:pt x="129463" y="855236"/>
                    <a:pt x="441914" y="856925"/>
                    <a:pt x="488320" y="858165"/>
                  </a:cubicBezTo>
                  <a:cubicBezTo>
                    <a:pt x="488326" y="858194"/>
                    <a:pt x="488336" y="858221"/>
                    <a:pt x="488345" y="858249"/>
                  </a:cubicBezTo>
                  <a:lnTo>
                    <a:pt x="489349" y="858186"/>
                  </a:lnTo>
                  <a:lnTo>
                    <a:pt x="492440" y="858249"/>
                  </a:lnTo>
                  <a:cubicBezTo>
                    <a:pt x="492562" y="858190"/>
                    <a:pt x="492684" y="858130"/>
                    <a:pt x="492755" y="857971"/>
                  </a:cubicBezTo>
                  <a:cubicBezTo>
                    <a:pt x="517797" y="856858"/>
                    <a:pt x="544705" y="855190"/>
                    <a:pt x="572680" y="852938"/>
                  </a:cubicBezTo>
                  <a:cubicBezTo>
                    <a:pt x="572277" y="823340"/>
                    <a:pt x="561368" y="775071"/>
                    <a:pt x="549247" y="749115"/>
                  </a:cubicBezTo>
                  <a:cubicBezTo>
                    <a:pt x="558539" y="755035"/>
                    <a:pt x="598134" y="796473"/>
                    <a:pt x="605811" y="850206"/>
                  </a:cubicBezTo>
                  <a:cubicBezTo>
                    <a:pt x="678536" y="756856"/>
                    <a:pt x="682172" y="682176"/>
                    <a:pt x="665203" y="653033"/>
                  </a:cubicBezTo>
                  <a:cubicBezTo>
                    <a:pt x="648638" y="624345"/>
                    <a:pt x="529853" y="576532"/>
                    <a:pt x="520157" y="578809"/>
                  </a:cubicBezTo>
                  <a:cubicBezTo>
                    <a:pt x="513668" y="580027"/>
                    <a:pt x="471919" y="609413"/>
                    <a:pt x="416545" y="619374"/>
                  </a:cubicBezTo>
                  <a:cubicBezTo>
                    <a:pt x="412236" y="616547"/>
                    <a:pt x="407719" y="613840"/>
                    <a:pt x="402735" y="611762"/>
                  </a:cubicBezTo>
                  <a:cubicBezTo>
                    <a:pt x="445434" y="596908"/>
                    <a:pt x="480070" y="566055"/>
                    <a:pt x="480966" y="558317"/>
                  </a:cubicBezTo>
                  <a:cubicBezTo>
                    <a:pt x="482178" y="547388"/>
                    <a:pt x="460765" y="500485"/>
                    <a:pt x="452684" y="499119"/>
                  </a:cubicBezTo>
                  <a:close/>
                  <a:moveTo>
                    <a:pt x="360713" y="167"/>
                  </a:moveTo>
                  <a:cubicBezTo>
                    <a:pt x="320835" y="2218"/>
                    <a:pt x="277249" y="23109"/>
                    <a:pt x="241395" y="59839"/>
                  </a:cubicBezTo>
                  <a:cubicBezTo>
                    <a:pt x="184029" y="118607"/>
                    <a:pt x="167869" y="149129"/>
                    <a:pt x="169081" y="160974"/>
                  </a:cubicBezTo>
                  <a:cubicBezTo>
                    <a:pt x="170294" y="172363"/>
                    <a:pt x="182009" y="188307"/>
                    <a:pt x="192109" y="186030"/>
                  </a:cubicBezTo>
                  <a:cubicBezTo>
                    <a:pt x="202612" y="183752"/>
                    <a:pt x="203824" y="173729"/>
                    <a:pt x="209480" y="168263"/>
                  </a:cubicBezTo>
                  <a:cubicBezTo>
                    <a:pt x="276542" y="104484"/>
                    <a:pt x="330676" y="114506"/>
                    <a:pt x="352895" y="122251"/>
                  </a:cubicBezTo>
                  <a:cubicBezTo>
                    <a:pt x="266442" y="130451"/>
                    <a:pt x="209480" y="202430"/>
                    <a:pt x="205036" y="213819"/>
                  </a:cubicBezTo>
                  <a:cubicBezTo>
                    <a:pt x="200593" y="224750"/>
                    <a:pt x="205034" y="254351"/>
                    <a:pt x="205036" y="254364"/>
                  </a:cubicBezTo>
                  <a:cubicBezTo>
                    <a:pt x="205007" y="254367"/>
                    <a:pt x="186453" y="255741"/>
                    <a:pt x="186453" y="269397"/>
                  </a:cubicBezTo>
                  <a:cubicBezTo>
                    <a:pt x="186453" y="283062"/>
                    <a:pt x="206241" y="358204"/>
                    <a:pt x="206248" y="358232"/>
                  </a:cubicBezTo>
                  <a:cubicBezTo>
                    <a:pt x="206263" y="358257"/>
                    <a:pt x="211509" y="367342"/>
                    <a:pt x="217560" y="365976"/>
                  </a:cubicBezTo>
                  <a:cubicBezTo>
                    <a:pt x="224023" y="421555"/>
                    <a:pt x="246243" y="456178"/>
                    <a:pt x="265230" y="473033"/>
                  </a:cubicBezTo>
                  <a:cubicBezTo>
                    <a:pt x="283813" y="489434"/>
                    <a:pt x="327040" y="522690"/>
                    <a:pt x="352895" y="522690"/>
                  </a:cubicBezTo>
                  <a:cubicBezTo>
                    <a:pt x="378750" y="522690"/>
                    <a:pt x="442176" y="469844"/>
                    <a:pt x="447024" y="460733"/>
                  </a:cubicBezTo>
                  <a:cubicBezTo>
                    <a:pt x="452275" y="451622"/>
                    <a:pt x="487018" y="411077"/>
                    <a:pt x="488231" y="361421"/>
                  </a:cubicBezTo>
                  <a:cubicBezTo>
                    <a:pt x="505198" y="360054"/>
                    <a:pt x="514894" y="309942"/>
                    <a:pt x="521357" y="283520"/>
                  </a:cubicBezTo>
                  <a:cubicBezTo>
                    <a:pt x="526607" y="261206"/>
                    <a:pt x="508444" y="261652"/>
                    <a:pt x="508430" y="261653"/>
                  </a:cubicBezTo>
                  <a:cubicBezTo>
                    <a:pt x="508448" y="261603"/>
                    <a:pt x="533882" y="191493"/>
                    <a:pt x="535901" y="181930"/>
                  </a:cubicBezTo>
                  <a:cubicBezTo>
                    <a:pt x="537517" y="172818"/>
                    <a:pt x="554484" y="11549"/>
                    <a:pt x="426016" y="17472"/>
                  </a:cubicBezTo>
                  <a:cubicBezTo>
                    <a:pt x="407231" y="4488"/>
                    <a:pt x="384639" y="-1064"/>
                    <a:pt x="360713" y="16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  <a:ex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109728" tIns="54864" rIns="109728" bIns="54864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96919" fontAlgn="base">
                <a:spcBef>
                  <a:spcPct val="0"/>
                </a:spcBef>
                <a:spcAft>
                  <a:spcPct val="0"/>
                </a:spcAft>
              </a:pPr>
              <a:endParaRPr lang="en-US" sz="2800" dirty="0">
                <a:solidFill>
                  <a:schemeClr val="bg1">
                    <a:alpha val="99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2350995" y="3685756"/>
              <a:ext cx="1432088" cy="1440160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6470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6" grpId="0" animBg="1"/>
      <p:bldP spid="17" grpId="0" animBg="1"/>
      <p:bldP spid="6" grpId="0"/>
      <p:bldP spid="19" grpId="0"/>
      <p:bldP spid="20" grpId="0" animBg="1"/>
      <p:bldP spid="21" grpId="0" animBg="1"/>
      <p:bldP spid="24" grpId="0"/>
      <p:bldP spid="2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55179" y="1433463"/>
            <a:ext cx="8327279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Introduction and </a:t>
            </a: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Reaso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About a DWH </a:t>
            </a: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projects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Common Practices and Concepts 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endParaRPr lang="en-US" sz="28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Future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of the DWH and its place in the Big Data World </a:t>
            </a:r>
            <a:endParaRPr lang="en-US" sz="28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Data Mining and Advanced Analytics 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933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) </a:t>
            </a:r>
            <a:r>
              <a:rPr lang="en-US" dirty="0"/>
              <a:t>Advanced </a:t>
            </a:r>
            <a:r>
              <a:rPr lang="en-US" dirty="0" smtClean="0"/>
              <a:t>Analytics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7099" y="1103086"/>
            <a:ext cx="6283439" cy="4992317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1889760" y="5381897"/>
            <a:ext cx="5905500" cy="8436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Can 17"/>
          <p:cNvSpPr/>
          <p:nvPr/>
        </p:nvSpPr>
        <p:spPr>
          <a:xfrm>
            <a:off x="3665220" y="5193211"/>
            <a:ext cx="1973580" cy="8763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 Warehou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803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e will gain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219813054"/>
              </p:ext>
            </p:extLst>
          </p:nvPr>
        </p:nvGraphicFramePr>
        <p:xfrm>
          <a:off x="1524000" y="1559732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58339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53159" y="3224163"/>
            <a:ext cx="8327279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About Datawarehouse pro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041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w Facts</a:t>
            </a:r>
            <a:endParaRPr lang="en-US" dirty="0"/>
          </a:p>
        </p:txBody>
      </p:sp>
      <p:sp>
        <p:nvSpPr>
          <p:cNvPr id="29" name="Rectangle 3"/>
          <p:cNvSpPr txBox="1">
            <a:spLocks noChangeArrowheads="1"/>
          </p:cNvSpPr>
          <p:nvPr/>
        </p:nvSpPr>
        <p:spPr>
          <a:xfrm>
            <a:off x="518160" y="1143000"/>
            <a:ext cx="7772400" cy="50749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28650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73138" indent="-331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58888" indent="-24923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43050" indent="-2730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sz="2800" dirty="0" smtClean="0">
              <a:cs typeface="Times New Roman" pitchFamily="18" charset="0"/>
            </a:endParaRPr>
          </a:p>
          <a:p>
            <a:pPr lvl="1"/>
            <a:r>
              <a:rPr lang="en-US" sz="2800" dirty="0" smtClean="0">
                <a:cs typeface="Times New Roman" pitchFamily="18" charset="0"/>
              </a:rPr>
              <a:t>40% Of Datawarehouse project fail</a:t>
            </a:r>
            <a:endParaRPr lang="en-US" sz="2800" dirty="0">
              <a:cs typeface="Times New Roman" pitchFamily="18" charset="0"/>
            </a:endParaRPr>
          </a:p>
          <a:p>
            <a:pPr lvl="1"/>
            <a:endParaRPr lang="en-US" sz="2800" dirty="0" smtClean="0">
              <a:cs typeface="Times New Roman" pitchFamily="18" charset="0"/>
            </a:endParaRPr>
          </a:p>
          <a:p>
            <a:pPr lvl="1"/>
            <a:r>
              <a:rPr lang="en-US" sz="2800" dirty="0" smtClean="0">
                <a:cs typeface="Times New Roman" pitchFamily="18" charset="0"/>
              </a:rPr>
              <a:t>Average Enterprise Data Warehouse projects are developed in cycle of between 18 – 24 Months</a:t>
            </a:r>
          </a:p>
          <a:p>
            <a:pPr lvl="1"/>
            <a:endParaRPr lang="en-US" sz="2800" dirty="0">
              <a:cs typeface="Times New Roman" pitchFamily="18" charset="0"/>
            </a:endParaRPr>
          </a:p>
          <a:p>
            <a:pPr lvl="1"/>
            <a:r>
              <a:rPr lang="en-US" sz="2800" dirty="0" smtClean="0">
                <a:cs typeface="Times New Roman" pitchFamily="18" charset="0"/>
              </a:rPr>
              <a:t>ROI Is usually substantial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9056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son No#1 - Strategy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534299057"/>
              </p:ext>
            </p:extLst>
          </p:nvPr>
        </p:nvGraphicFramePr>
        <p:xfrm>
          <a:off x="3940097" y="2821258"/>
          <a:ext cx="4832195" cy="32596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518160" y="1143000"/>
            <a:ext cx="7772400" cy="50749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28650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73138" indent="-331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58888" indent="-24923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43050" indent="-2730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800" dirty="0" smtClean="0">
                <a:cs typeface="Times New Roman" pitchFamily="18" charset="0"/>
              </a:rPr>
              <a:t>Lack of strategic goals</a:t>
            </a:r>
          </a:p>
          <a:p>
            <a:pPr marL="314325" lvl="1" indent="0">
              <a:buNone/>
            </a:pPr>
            <a:endParaRPr lang="en-US" sz="3200" b="1" dirty="0" smtClean="0">
              <a:solidFill>
                <a:schemeClr val="accent1"/>
              </a:solidFill>
            </a:endParaRPr>
          </a:p>
          <a:p>
            <a:pPr marL="314325" lvl="1" indent="0">
              <a:buNone/>
            </a:pPr>
            <a:r>
              <a:rPr lang="en-US" sz="3200" b="1" dirty="0" smtClean="0">
                <a:solidFill>
                  <a:schemeClr val="accent1"/>
                </a:solidFill>
              </a:rPr>
              <a:t>We </a:t>
            </a:r>
            <a:r>
              <a:rPr lang="en-US" sz="3200" b="1" dirty="0">
                <a:solidFill>
                  <a:schemeClr val="accent1"/>
                </a:solidFill>
              </a:rPr>
              <a:t>must ask - </a:t>
            </a:r>
          </a:p>
        </p:txBody>
      </p:sp>
    </p:spTree>
    <p:extLst>
      <p:ext uri="{BB962C8B-B14F-4D97-AF65-F5344CB8AC3E}">
        <p14:creationId xmlns:p14="http://schemas.microsoft.com/office/powerpoint/2010/main" val="3505370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son No#2 - </a:t>
            </a:r>
            <a:r>
              <a:rPr lang="en-US" dirty="0"/>
              <a:t>Poor Data </a:t>
            </a:r>
            <a:r>
              <a:rPr lang="en-US" dirty="0" smtClean="0"/>
              <a:t>Quality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67268" y="1143000"/>
            <a:ext cx="8798312" cy="50749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28650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73138" indent="-331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58888" indent="-24923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43050" indent="-2730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sz="2800" dirty="0" smtClean="0">
              <a:cs typeface="Times New Roman" pitchFamily="18" charset="0"/>
            </a:endParaRPr>
          </a:p>
          <a:p>
            <a:pPr lvl="1"/>
            <a:r>
              <a:rPr lang="en-US" sz="2800" dirty="0" smtClean="0">
                <a:cs typeface="Times New Roman" pitchFamily="18" charset="0"/>
              </a:rPr>
              <a:t>Examples:</a:t>
            </a:r>
          </a:p>
          <a:p>
            <a:pPr lvl="2"/>
            <a:r>
              <a:rPr lang="en-US" sz="2600" dirty="0">
                <a:cs typeface="Times New Roman" pitchFamily="18" charset="0"/>
              </a:rPr>
              <a:t>Outdated </a:t>
            </a:r>
            <a:r>
              <a:rPr lang="en-US" sz="2600" dirty="0" smtClean="0">
                <a:cs typeface="Times New Roman" pitchFamily="18" charset="0"/>
              </a:rPr>
              <a:t>Data</a:t>
            </a:r>
            <a:endParaRPr lang="en-US" sz="2800" dirty="0" smtClean="0">
              <a:cs typeface="Times New Roman" pitchFamily="18" charset="0"/>
            </a:endParaRPr>
          </a:p>
          <a:p>
            <a:pPr lvl="2"/>
            <a:r>
              <a:rPr lang="en-US" sz="2600" dirty="0" smtClean="0">
                <a:cs typeface="Times New Roman" pitchFamily="18" charset="0"/>
              </a:rPr>
              <a:t>Incorrect Geo locations</a:t>
            </a:r>
          </a:p>
          <a:p>
            <a:pPr lvl="2"/>
            <a:r>
              <a:rPr lang="en-US" sz="2600" dirty="0" smtClean="0">
                <a:cs typeface="Times New Roman" pitchFamily="18" charset="0"/>
              </a:rPr>
              <a:t>Duplicate data that effect summarization</a:t>
            </a:r>
          </a:p>
          <a:p>
            <a:pPr lvl="1"/>
            <a:endParaRPr lang="en-US" sz="2800" dirty="0">
              <a:cs typeface="Times New Roman" pitchFamily="18" charset="0"/>
            </a:endParaRPr>
          </a:p>
          <a:p>
            <a:pPr marL="314325" lvl="1" indent="0">
              <a:buNone/>
            </a:pPr>
            <a:endParaRPr lang="en-US" sz="3200" b="1" dirty="0" smtClean="0">
              <a:solidFill>
                <a:schemeClr val="accent1"/>
              </a:solidFill>
            </a:endParaRPr>
          </a:p>
          <a:p>
            <a:pPr marL="314325" lvl="1" indent="0">
              <a:buNone/>
            </a:pPr>
            <a:r>
              <a:rPr lang="en-US" sz="3200" b="1" dirty="0" smtClean="0">
                <a:solidFill>
                  <a:schemeClr val="accent1"/>
                </a:solidFill>
              </a:rPr>
              <a:t>Validation </a:t>
            </a:r>
            <a:r>
              <a:rPr lang="en-US" sz="3200" b="1" dirty="0">
                <a:solidFill>
                  <a:schemeClr val="accent1"/>
                </a:solidFill>
              </a:rPr>
              <a:t>of data quality must be done before actual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8709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/>
            <a:r>
              <a:rPr lang="en-US" dirty="0" smtClean="0"/>
              <a:t>Reason No#3 – Trying to boil the ocean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67268" y="1143000"/>
            <a:ext cx="8798312" cy="50749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28650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73138" indent="-331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58888" indent="-24923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43050" indent="-2730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sz="2800" dirty="0" smtClean="0">
              <a:cs typeface="Times New Roman" pitchFamily="18" charset="0"/>
            </a:endParaRPr>
          </a:p>
          <a:p>
            <a:pPr lvl="1"/>
            <a:r>
              <a:rPr lang="en-US" sz="2800" dirty="0" smtClean="0"/>
              <a:t>Pulling every </a:t>
            </a:r>
            <a:r>
              <a:rPr lang="en-US" sz="2800" dirty="0"/>
              <a:t>piece of available data from every possible source</a:t>
            </a:r>
            <a:endParaRPr lang="en-US" sz="2800" dirty="0" smtClean="0">
              <a:cs typeface="Times New Roman" pitchFamily="18" charset="0"/>
            </a:endParaRPr>
          </a:p>
          <a:p>
            <a:pPr lvl="1"/>
            <a:r>
              <a:rPr lang="en-US" sz="2800" dirty="0" smtClean="0">
                <a:cs typeface="Times New Roman" pitchFamily="18" charset="0"/>
              </a:rPr>
              <a:t>Too </a:t>
            </a:r>
            <a:r>
              <a:rPr lang="en-US" sz="2800" dirty="0">
                <a:cs typeface="Times New Roman" pitchFamily="18" charset="0"/>
              </a:rPr>
              <a:t>much data and many access </a:t>
            </a:r>
            <a:r>
              <a:rPr lang="en-US" sz="2800" dirty="0" smtClean="0">
                <a:cs typeface="Times New Roman" pitchFamily="18" charset="0"/>
              </a:rPr>
              <a:t>obstacles</a:t>
            </a:r>
          </a:p>
          <a:p>
            <a:pPr lvl="1"/>
            <a:r>
              <a:rPr lang="en-US" sz="2800" dirty="0">
                <a:cs typeface="Times New Roman" pitchFamily="18" charset="0"/>
              </a:rPr>
              <a:t>Datawarehouse projects that try to do all at </a:t>
            </a:r>
            <a:r>
              <a:rPr lang="en-US" sz="2800" dirty="0" smtClean="0">
                <a:cs typeface="Times New Roman" pitchFamily="18" charset="0"/>
              </a:rPr>
              <a:t>once</a:t>
            </a:r>
            <a:r>
              <a:rPr lang="en-US" sz="2800" dirty="0">
                <a:cs typeface="Times New Roman" pitchFamily="18" charset="0"/>
              </a:rPr>
              <a:t> </a:t>
            </a:r>
            <a:r>
              <a:rPr lang="en-US" sz="2800" dirty="0" smtClean="0">
                <a:cs typeface="Times New Roman" pitchFamily="18" charset="0"/>
              </a:rPr>
              <a:t>will fail!</a:t>
            </a:r>
          </a:p>
          <a:p>
            <a:pPr lvl="1"/>
            <a:endParaRPr lang="en-US" sz="2800" dirty="0">
              <a:cs typeface="Times New Roman" pitchFamily="18" charset="0"/>
            </a:endParaRPr>
          </a:p>
          <a:p>
            <a:pPr marL="314325" lvl="1" indent="0">
              <a:buNone/>
            </a:pPr>
            <a:r>
              <a:rPr lang="en-US" sz="3200" b="1" dirty="0">
                <a:solidFill>
                  <a:schemeClr val="accent1"/>
                </a:solidFill>
              </a:rPr>
              <a:t>Take an Agile approach developing data </a:t>
            </a:r>
            <a:r>
              <a:rPr lang="en-US" sz="3200" b="1" dirty="0" smtClean="0">
                <a:solidFill>
                  <a:schemeClr val="accent1"/>
                </a:solidFill>
              </a:rPr>
              <a:t>marts (Agile BI).</a:t>
            </a:r>
            <a:endParaRPr lang="en-US" sz="3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123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/>
            <a:r>
              <a:rPr lang="en-US" dirty="0" smtClean="0"/>
              <a:t>Reason No#4 – The silent failure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67268" y="1143000"/>
            <a:ext cx="8798312" cy="50749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28650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73138" indent="-331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58888" indent="-24923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43050" indent="-2730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sz="2800" dirty="0" smtClean="0">
              <a:cs typeface="Times New Roman" pitchFamily="18" charset="0"/>
            </a:endParaRPr>
          </a:p>
          <a:p>
            <a:pPr lvl="1"/>
            <a:r>
              <a:rPr lang="en-US" sz="2800" dirty="0" smtClean="0"/>
              <a:t>The data warehouse project is completed and delivered successfully!</a:t>
            </a:r>
          </a:p>
          <a:p>
            <a:pPr lvl="1"/>
            <a:r>
              <a:rPr lang="en-US" sz="2800" dirty="0" smtClean="0">
                <a:cs typeface="Times New Roman" pitchFamily="18" charset="0"/>
              </a:rPr>
              <a:t>But no one uses it…</a:t>
            </a:r>
          </a:p>
          <a:p>
            <a:pPr lvl="1"/>
            <a:endParaRPr lang="en-US" sz="2800" dirty="0" smtClean="0">
              <a:cs typeface="Times New Roman" pitchFamily="18" charset="0"/>
            </a:endParaRPr>
          </a:p>
          <a:p>
            <a:pPr lvl="1"/>
            <a:endParaRPr lang="en-US" sz="2800" dirty="0">
              <a:cs typeface="Times New Roman" pitchFamily="18" charset="0"/>
            </a:endParaRPr>
          </a:p>
          <a:p>
            <a:pPr marL="314325" lvl="1" indent="0">
              <a:buNone/>
            </a:pPr>
            <a:r>
              <a:rPr lang="en-US" sz="3200" b="1" dirty="0" smtClean="0">
                <a:solidFill>
                  <a:schemeClr val="accent1"/>
                </a:solidFill>
              </a:rPr>
              <a:t>Validate the solution with the end users and consumers throughout the project</a:t>
            </a:r>
            <a:endParaRPr lang="en-US" sz="3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797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Successful Datawarehouse project </a:t>
            </a:r>
            <a:endParaRPr lang="en-US" dirty="0"/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5116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Infrastructure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lanning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46358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Info.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Management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444857" y="30830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24260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finition</a:t>
            </a: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3950057" y="3083024"/>
            <a:ext cx="1447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Solution (soft)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evelopment</a:t>
            </a: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7788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Validation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1130657" y="4607024"/>
            <a:ext cx="16002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Requirement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rototyping</a:t>
            </a: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111857" y="4607024"/>
            <a:ext cx="990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ata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4864457" y="4607024"/>
            <a:ext cx="1066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Modeling</a:t>
            </a: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7302857" y="3083024"/>
            <a:ext cx="1371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15" name="AutoShape 16"/>
          <p:cNvSpPr>
            <a:spLocks noChangeArrowheads="1"/>
          </p:cNvSpPr>
          <p:nvPr/>
        </p:nvSpPr>
        <p:spPr bwMode="auto">
          <a:xfrm>
            <a:off x="35690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6" name="AutoShape 17"/>
          <p:cNvSpPr>
            <a:spLocks noChangeArrowheads="1"/>
          </p:cNvSpPr>
          <p:nvPr/>
        </p:nvSpPr>
        <p:spPr bwMode="auto">
          <a:xfrm>
            <a:off x="1587857" y="26258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7" name="AutoShape 18"/>
          <p:cNvSpPr>
            <a:spLocks noChangeArrowheads="1"/>
          </p:cNvSpPr>
          <p:nvPr/>
        </p:nvSpPr>
        <p:spPr bwMode="auto">
          <a:xfrm>
            <a:off x="3111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8" name="AutoShape 19"/>
          <p:cNvSpPr>
            <a:spLocks noChangeArrowheads="1"/>
          </p:cNvSpPr>
          <p:nvPr/>
        </p:nvSpPr>
        <p:spPr bwMode="auto">
          <a:xfrm>
            <a:off x="15116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9" name="AutoShape 20"/>
          <p:cNvSpPr>
            <a:spLocks noChangeArrowheads="1"/>
          </p:cNvSpPr>
          <p:nvPr/>
        </p:nvSpPr>
        <p:spPr bwMode="auto">
          <a:xfrm>
            <a:off x="3873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auto">
          <a:xfrm>
            <a:off x="5397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1" name="AutoShape 22"/>
          <p:cNvSpPr>
            <a:spLocks noChangeArrowheads="1"/>
          </p:cNvSpPr>
          <p:nvPr/>
        </p:nvSpPr>
        <p:spPr bwMode="auto">
          <a:xfrm>
            <a:off x="6921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2" name="AutoShape 23"/>
          <p:cNvSpPr>
            <a:spLocks noChangeArrowheads="1"/>
          </p:cNvSpPr>
          <p:nvPr/>
        </p:nvSpPr>
        <p:spPr bwMode="auto">
          <a:xfrm>
            <a:off x="4331057" y="4835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3" name="AutoShape 24"/>
          <p:cNvSpPr>
            <a:spLocks noChangeArrowheads="1"/>
          </p:cNvSpPr>
          <p:nvPr/>
        </p:nvSpPr>
        <p:spPr bwMode="auto">
          <a:xfrm>
            <a:off x="1968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4" name="AutoShape 25"/>
          <p:cNvSpPr>
            <a:spLocks noChangeArrowheads="1"/>
          </p:cNvSpPr>
          <p:nvPr/>
        </p:nvSpPr>
        <p:spPr bwMode="auto">
          <a:xfrm>
            <a:off x="48644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5" name="AutoShape 29"/>
          <p:cNvSpPr>
            <a:spLocks noChangeArrowheads="1"/>
          </p:cNvSpPr>
          <p:nvPr/>
        </p:nvSpPr>
        <p:spPr bwMode="auto">
          <a:xfrm>
            <a:off x="26546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6" name="AutoShape 30"/>
          <p:cNvSpPr>
            <a:spLocks noChangeArrowheads="1"/>
          </p:cNvSpPr>
          <p:nvPr/>
        </p:nvSpPr>
        <p:spPr bwMode="auto">
          <a:xfrm>
            <a:off x="58550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7" name="AutoShape 31"/>
          <p:cNvSpPr>
            <a:spLocks noChangeArrowheads="1"/>
          </p:cNvSpPr>
          <p:nvPr/>
        </p:nvSpPr>
        <p:spPr bwMode="auto">
          <a:xfrm>
            <a:off x="47882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8" name="AutoShape 32"/>
          <p:cNvSpPr>
            <a:spLocks noChangeArrowheads="1"/>
          </p:cNvSpPr>
          <p:nvPr/>
        </p:nvSpPr>
        <p:spPr bwMode="auto">
          <a:xfrm>
            <a:off x="24260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47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5116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Infrastructure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lanning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46358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Info.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Management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444857" y="3083024"/>
            <a:ext cx="15240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24260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finition</a:t>
            </a: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3950057" y="3083024"/>
            <a:ext cx="1447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Solution (soft)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evelopment</a:t>
            </a: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7788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Validation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1130657" y="4607024"/>
            <a:ext cx="16002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Requirement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rototyping</a:t>
            </a: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111857" y="4607024"/>
            <a:ext cx="990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ata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4864457" y="4607024"/>
            <a:ext cx="1066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Modeling</a:t>
            </a: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7302857" y="3083024"/>
            <a:ext cx="1371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15" name="AutoShape 16"/>
          <p:cNvSpPr>
            <a:spLocks noChangeArrowheads="1"/>
          </p:cNvSpPr>
          <p:nvPr/>
        </p:nvSpPr>
        <p:spPr bwMode="auto">
          <a:xfrm>
            <a:off x="35690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6" name="AutoShape 17"/>
          <p:cNvSpPr>
            <a:spLocks noChangeArrowheads="1"/>
          </p:cNvSpPr>
          <p:nvPr/>
        </p:nvSpPr>
        <p:spPr bwMode="auto">
          <a:xfrm>
            <a:off x="1587857" y="26258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7" name="AutoShape 18"/>
          <p:cNvSpPr>
            <a:spLocks noChangeArrowheads="1"/>
          </p:cNvSpPr>
          <p:nvPr/>
        </p:nvSpPr>
        <p:spPr bwMode="auto">
          <a:xfrm>
            <a:off x="3111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8" name="AutoShape 19"/>
          <p:cNvSpPr>
            <a:spLocks noChangeArrowheads="1"/>
          </p:cNvSpPr>
          <p:nvPr/>
        </p:nvSpPr>
        <p:spPr bwMode="auto">
          <a:xfrm>
            <a:off x="15116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9" name="AutoShape 20"/>
          <p:cNvSpPr>
            <a:spLocks noChangeArrowheads="1"/>
          </p:cNvSpPr>
          <p:nvPr/>
        </p:nvSpPr>
        <p:spPr bwMode="auto">
          <a:xfrm>
            <a:off x="3873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auto">
          <a:xfrm>
            <a:off x="5397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1" name="AutoShape 22"/>
          <p:cNvSpPr>
            <a:spLocks noChangeArrowheads="1"/>
          </p:cNvSpPr>
          <p:nvPr/>
        </p:nvSpPr>
        <p:spPr bwMode="auto">
          <a:xfrm>
            <a:off x="6921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2" name="AutoShape 23"/>
          <p:cNvSpPr>
            <a:spLocks noChangeArrowheads="1"/>
          </p:cNvSpPr>
          <p:nvPr/>
        </p:nvSpPr>
        <p:spPr bwMode="auto">
          <a:xfrm>
            <a:off x="4331057" y="4835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3" name="AutoShape 24"/>
          <p:cNvSpPr>
            <a:spLocks noChangeArrowheads="1"/>
          </p:cNvSpPr>
          <p:nvPr/>
        </p:nvSpPr>
        <p:spPr bwMode="auto">
          <a:xfrm>
            <a:off x="1968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4" name="AutoShape 25"/>
          <p:cNvSpPr>
            <a:spLocks noChangeArrowheads="1"/>
          </p:cNvSpPr>
          <p:nvPr/>
        </p:nvSpPr>
        <p:spPr bwMode="auto">
          <a:xfrm>
            <a:off x="48644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5" name="AutoShape 29"/>
          <p:cNvSpPr>
            <a:spLocks noChangeArrowheads="1"/>
          </p:cNvSpPr>
          <p:nvPr/>
        </p:nvSpPr>
        <p:spPr bwMode="auto">
          <a:xfrm>
            <a:off x="26546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6" name="AutoShape 30"/>
          <p:cNvSpPr>
            <a:spLocks noChangeArrowheads="1"/>
          </p:cNvSpPr>
          <p:nvPr/>
        </p:nvSpPr>
        <p:spPr bwMode="auto">
          <a:xfrm>
            <a:off x="58550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7" name="AutoShape 31"/>
          <p:cNvSpPr>
            <a:spLocks noChangeArrowheads="1"/>
          </p:cNvSpPr>
          <p:nvPr/>
        </p:nvSpPr>
        <p:spPr bwMode="auto">
          <a:xfrm>
            <a:off x="47882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8" name="AutoShape 32"/>
          <p:cNvSpPr>
            <a:spLocks noChangeArrowheads="1"/>
          </p:cNvSpPr>
          <p:nvPr/>
        </p:nvSpPr>
        <p:spPr bwMode="auto">
          <a:xfrm>
            <a:off x="24260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421838" y="305693"/>
            <a:ext cx="8123238" cy="5635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 Successful Datawarehouse project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82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o am I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26" y="1269690"/>
            <a:ext cx="9007185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28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Data Architect and BI exp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8 Years of exper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Largest Datawarehouse I’ve built was 2PB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I am here to answer your questions!</a:t>
            </a:r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848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uccessful Datawarehouse project </a:t>
            </a: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511657" y="1711424"/>
            <a:ext cx="15240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Infrastructure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lanning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46358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Info.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Management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444857" y="30830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2426057" y="3083024"/>
            <a:ext cx="11430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finition</a:t>
            </a: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3950057" y="3083024"/>
            <a:ext cx="1447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Solution (soft)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evelopment</a:t>
            </a: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7788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Validation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1130657" y="4607024"/>
            <a:ext cx="16002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Requirement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rototyping</a:t>
            </a: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111857" y="4607024"/>
            <a:ext cx="990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ata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4864457" y="4607024"/>
            <a:ext cx="1066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Modeling</a:t>
            </a: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7302857" y="3083024"/>
            <a:ext cx="1371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15" name="AutoShape 16"/>
          <p:cNvSpPr>
            <a:spLocks noChangeArrowheads="1"/>
          </p:cNvSpPr>
          <p:nvPr/>
        </p:nvSpPr>
        <p:spPr bwMode="auto">
          <a:xfrm>
            <a:off x="35690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6" name="AutoShape 17"/>
          <p:cNvSpPr>
            <a:spLocks noChangeArrowheads="1"/>
          </p:cNvSpPr>
          <p:nvPr/>
        </p:nvSpPr>
        <p:spPr bwMode="auto">
          <a:xfrm>
            <a:off x="1587857" y="26258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7" name="AutoShape 18"/>
          <p:cNvSpPr>
            <a:spLocks noChangeArrowheads="1"/>
          </p:cNvSpPr>
          <p:nvPr/>
        </p:nvSpPr>
        <p:spPr bwMode="auto">
          <a:xfrm>
            <a:off x="3111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8" name="AutoShape 19"/>
          <p:cNvSpPr>
            <a:spLocks noChangeArrowheads="1"/>
          </p:cNvSpPr>
          <p:nvPr/>
        </p:nvSpPr>
        <p:spPr bwMode="auto">
          <a:xfrm>
            <a:off x="15116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9" name="AutoShape 20"/>
          <p:cNvSpPr>
            <a:spLocks noChangeArrowheads="1"/>
          </p:cNvSpPr>
          <p:nvPr/>
        </p:nvSpPr>
        <p:spPr bwMode="auto">
          <a:xfrm>
            <a:off x="3873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auto">
          <a:xfrm>
            <a:off x="5397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1" name="AutoShape 22"/>
          <p:cNvSpPr>
            <a:spLocks noChangeArrowheads="1"/>
          </p:cNvSpPr>
          <p:nvPr/>
        </p:nvSpPr>
        <p:spPr bwMode="auto">
          <a:xfrm>
            <a:off x="6921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2" name="AutoShape 23"/>
          <p:cNvSpPr>
            <a:spLocks noChangeArrowheads="1"/>
          </p:cNvSpPr>
          <p:nvPr/>
        </p:nvSpPr>
        <p:spPr bwMode="auto">
          <a:xfrm>
            <a:off x="4331057" y="4835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3" name="AutoShape 24"/>
          <p:cNvSpPr>
            <a:spLocks noChangeArrowheads="1"/>
          </p:cNvSpPr>
          <p:nvPr/>
        </p:nvSpPr>
        <p:spPr bwMode="auto">
          <a:xfrm>
            <a:off x="1968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4" name="AutoShape 25"/>
          <p:cNvSpPr>
            <a:spLocks noChangeArrowheads="1"/>
          </p:cNvSpPr>
          <p:nvPr/>
        </p:nvSpPr>
        <p:spPr bwMode="auto">
          <a:xfrm>
            <a:off x="48644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5" name="AutoShape 29"/>
          <p:cNvSpPr>
            <a:spLocks noChangeArrowheads="1"/>
          </p:cNvSpPr>
          <p:nvPr/>
        </p:nvSpPr>
        <p:spPr bwMode="auto">
          <a:xfrm>
            <a:off x="26546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6" name="AutoShape 30"/>
          <p:cNvSpPr>
            <a:spLocks noChangeArrowheads="1"/>
          </p:cNvSpPr>
          <p:nvPr/>
        </p:nvSpPr>
        <p:spPr bwMode="auto">
          <a:xfrm>
            <a:off x="58550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7" name="AutoShape 31"/>
          <p:cNvSpPr>
            <a:spLocks noChangeArrowheads="1"/>
          </p:cNvSpPr>
          <p:nvPr/>
        </p:nvSpPr>
        <p:spPr bwMode="auto">
          <a:xfrm>
            <a:off x="47882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8" name="AutoShape 32"/>
          <p:cNvSpPr>
            <a:spLocks noChangeArrowheads="1"/>
          </p:cNvSpPr>
          <p:nvPr/>
        </p:nvSpPr>
        <p:spPr bwMode="auto">
          <a:xfrm>
            <a:off x="24260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00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uccessful Datawarehouse project </a:t>
            </a: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5116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Infrastructure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lanning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46358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Info.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Management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444857" y="30830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24260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finition</a:t>
            </a: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3950057" y="3083024"/>
            <a:ext cx="14478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  <a:r>
              <a:rPr lang="en-US" dirty="0" smtClean="0">
                <a:solidFill>
                  <a:schemeClr val="bg1"/>
                </a:solidFill>
                <a:latin typeface="Tahoma" panose="020B0604030504040204" pitchFamily="34" charset="0"/>
              </a:rPr>
              <a:t>(soft)</a:t>
            </a:r>
            <a:endParaRPr lang="en-US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evelopment</a:t>
            </a: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7788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Validation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1130657" y="4607024"/>
            <a:ext cx="16002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Requirement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rototyping</a:t>
            </a: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142853" y="4607024"/>
            <a:ext cx="9906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ata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4864457" y="4607024"/>
            <a:ext cx="10668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Modeling</a:t>
            </a: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7302857" y="3083024"/>
            <a:ext cx="1371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15" name="AutoShape 16"/>
          <p:cNvSpPr>
            <a:spLocks noChangeArrowheads="1"/>
          </p:cNvSpPr>
          <p:nvPr/>
        </p:nvSpPr>
        <p:spPr bwMode="auto">
          <a:xfrm>
            <a:off x="35690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6" name="AutoShape 17"/>
          <p:cNvSpPr>
            <a:spLocks noChangeArrowheads="1"/>
          </p:cNvSpPr>
          <p:nvPr/>
        </p:nvSpPr>
        <p:spPr bwMode="auto">
          <a:xfrm>
            <a:off x="1587857" y="26258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7" name="AutoShape 18"/>
          <p:cNvSpPr>
            <a:spLocks noChangeArrowheads="1"/>
          </p:cNvSpPr>
          <p:nvPr/>
        </p:nvSpPr>
        <p:spPr bwMode="auto">
          <a:xfrm>
            <a:off x="3111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8" name="AutoShape 19"/>
          <p:cNvSpPr>
            <a:spLocks noChangeArrowheads="1"/>
          </p:cNvSpPr>
          <p:nvPr/>
        </p:nvSpPr>
        <p:spPr bwMode="auto">
          <a:xfrm>
            <a:off x="15116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9" name="AutoShape 20"/>
          <p:cNvSpPr>
            <a:spLocks noChangeArrowheads="1"/>
          </p:cNvSpPr>
          <p:nvPr/>
        </p:nvSpPr>
        <p:spPr bwMode="auto">
          <a:xfrm>
            <a:off x="3873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auto">
          <a:xfrm>
            <a:off x="5397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1" name="AutoShape 22"/>
          <p:cNvSpPr>
            <a:spLocks noChangeArrowheads="1"/>
          </p:cNvSpPr>
          <p:nvPr/>
        </p:nvSpPr>
        <p:spPr bwMode="auto">
          <a:xfrm>
            <a:off x="6921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2" name="AutoShape 23"/>
          <p:cNvSpPr>
            <a:spLocks noChangeArrowheads="1"/>
          </p:cNvSpPr>
          <p:nvPr/>
        </p:nvSpPr>
        <p:spPr bwMode="auto">
          <a:xfrm>
            <a:off x="4331057" y="4835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3" name="AutoShape 24"/>
          <p:cNvSpPr>
            <a:spLocks noChangeArrowheads="1"/>
          </p:cNvSpPr>
          <p:nvPr/>
        </p:nvSpPr>
        <p:spPr bwMode="auto">
          <a:xfrm>
            <a:off x="1968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4" name="AutoShape 25"/>
          <p:cNvSpPr>
            <a:spLocks noChangeArrowheads="1"/>
          </p:cNvSpPr>
          <p:nvPr/>
        </p:nvSpPr>
        <p:spPr bwMode="auto">
          <a:xfrm>
            <a:off x="48644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5" name="AutoShape 29"/>
          <p:cNvSpPr>
            <a:spLocks noChangeArrowheads="1"/>
          </p:cNvSpPr>
          <p:nvPr/>
        </p:nvSpPr>
        <p:spPr bwMode="auto">
          <a:xfrm>
            <a:off x="26546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6" name="AutoShape 30"/>
          <p:cNvSpPr>
            <a:spLocks noChangeArrowheads="1"/>
          </p:cNvSpPr>
          <p:nvPr/>
        </p:nvSpPr>
        <p:spPr bwMode="auto">
          <a:xfrm>
            <a:off x="58550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7" name="AutoShape 31"/>
          <p:cNvSpPr>
            <a:spLocks noChangeArrowheads="1"/>
          </p:cNvSpPr>
          <p:nvPr/>
        </p:nvSpPr>
        <p:spPr bwMode="auto">
          <a:xfrm>
            <a:off x="47882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8" name="AutoShape 32"/>
          <p:cNvSpPr>
            <a:spLocks noChangeArrowheads="1"/>
          </p:cNvSpPr>
          <p:nvPr/>
        </p:nvSpPr>
        <p:spPr bwMode="auto">
          <a:xfrm>
            <a:off x="24260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40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uccessful Datawarehouse project </a:t>
            </a: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5116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Infrastructure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lanning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4635857" y="1711424"/>
            <a:ext cx="15240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Info.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Management </a:t>
            </a:r>
            <a:b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444857" y="30830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24260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finition</a:t>
            </a: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3950057" y="3083024"/>
            <a:ext cx="1447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Solution (soft)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evelopment</a:t>
            </a: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778857" y="3083024"/>
            <a:ext cx="11430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Validation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1130657" y="4607024"/>
            <a:ext cx="16002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Requirement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rototyping</a:t>
            </a: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142853" y="4607024"/>
            <a:ext cx="990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ata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4864457" y="4607024"/>
            <a:ext cx="1066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Modeling</a:t>
            </a: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7302857" y="3083024"/>
            <a:ext cx="1371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15" name="AutoShape 16"/>
          <p:cNvSpPr>
            <a:spLocks noChangeArrowheads="1"/>
          </p:cNvSpPr>
          <p:nvPr/>
        </p:nvSpPr>
        <p:spPr bwMode="auto">
          <a:xfrm>
            <a:off x="35690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6" name="AutoShape 17"/>
          <p:cNvSpPr>
            <a:spLocks noChangeArrowheads="1"/>
          </p:cNvSpPr>
          <p:nvPr/>
        </p:nvSpPr>
        <p:spPr bwMode="auto">
          <a:xfrm>
            <a:off x="1587857" y="26258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7" name="AutoShape 18"/>
          <p:cNvSpPr>
            <a:spLocks noChangeArrowheads="1"/>
          </p:cNvSpPr>
          <p:nvPr/>
        </p:nvSpPr>
        <p:spPr bwMode="auto">
          <a:xfrm>
            <a:off x="3111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8" name="AutoShape 19"/>
          <p:cNvSpPr>
            <a:spLocks noChangeArrowheads="1"/>
          </p:cNvSpPr>
          <p:nvPr/>
        </p:nvSpPr>
        <p:spPr bwMode="auto">
          <a:xfrm>
            <a:off x="15116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9" name="AutoShape 20"/>
          <p:cNvSpPr>
            <a:spLocks noChangeArrowheads="1"/>
          </p:cNvSpPr>
          <p:nvPr/>
        </p:nvSpPr>
        <p:spPr bwMode="auto">
          <a:xfrm>
            <a:off x="3873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auto">
          <a:xfrm>
            <a:off x="5397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1" name="AutoShape 22"/>
          <p:cNvSpPr>
            <a:spLocks noChangeArrowheads="1"/>
          </p:cNvSpPr>
          <p:nvPr/>
        </p:nvSpPr>
        <p:spPr bwMode="auto">
          <a:xfrm>
            <a:off x="6921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2" name="AutoShape 23"/>
          <p:cNvSpPr>
            <a:spLocks noChangeArrowheads="1"/>
          </p:cNvSpPr>
          <p:nvPr/>
        </p:nvSpPr>
        <p:spPr bwMode="auto">
          <a:xfrm>
            <a:off x="4331057" y="4835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3" name="AutoShape 24"/>
          <p:cNvSpPr>
            <a:spLocks noChangeArrowheads="1"/>
          </p:cNvSpPr>
          <p:nvPr/>
        </p:nvSpPr>
        <p:spPr bwMode="auto">
          <a:xfrm>
            <a:off x="1968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4" name="AutoShape 25"/>
          <p:cNvSpPr>
            <a:spLocks noChangeArrowheads="1"/>
          </p:cNvSpPr>
          <p:nvPr/>
        </p:nvSpPr>
        <p:spPr bwMode="auto">
          <a:xfrm>
            <a:off x="48644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5" name="AutoShape 29"/>
          <p:cNvSpPr>
            <a:spLocks noChangeArrowheads="1"/>
          </p:cNvSpPr>
          <p:nvPr/>
        </p:nvSpPr>
        <p:spPr bwMode="auto">
          <a:xfrm>
            <a:off x="26546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6" name="AutoShape 30"/>
          <p:cNvSpPr>
            <a:spLocks noChangeArrowheads="1"/>
          </p:cNvSpPr>
          <p:nvPr/>
        </p:nvSpPr>
        <p:spPr bwMode="auto">
          <a:xfrm>
            <a:off x="58550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7" name="AutoShape 31"/>
          <p:cNvSpPr>
            <a:spLocks noChangeArrowheads="1"/>
          </p:cNvSpPr>
          <p:nvPr/>
        </p:nvSpPr>
        <p:spPr bwMode="auto">
          <a:xfrm>
            <a:off x="47882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8" name="AutoShape 32"/>
          <p:cNvSpPr>
            <a:spLocks noChangeArrowheads="1"/>
          </p:cNvSpPr>
          <p:nvPr/>
        </p:nvSpPr>
        <p:spPr bwMode="auto">
          <a:xfrm>
            <a:off x="24260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98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uccessful Datawarehouse project </a:t>
            </a: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5116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Infrastructure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lanning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4635857" y="17114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Info.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Management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444857" y="3083024"/>
            <a:ext cx="1524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  <a:b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24260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finition</a:t>
            </a: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3950057" y="3083024"/>
            <a:ext cx="1447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Solution (soft)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Development</a:t>
            </a: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778857" y="3083024"/>
            <a:ext cx="11430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Validation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1130657" y="4607024"/>
            <a:ext cx="16002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Busines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Requirements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Prototyping</a:t>
            </a: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142853" y="4607024"/>
            <a:ext cx="9906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ata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iscovery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4864457" y="4607024"/>
            <a:ext cx="1066800" cy="838200"/>
          </a:xfrm>
          <a:prstGeom prst="rect">
            <a:avLst/>
          </a:prstGeom>
          <a:solidFill>
            <a:srgbClr val="7D7D7D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 dirty="0">
                <a:solidFill>
                  <a:schemeClr val="bg1"/>
                </a:solidFill>
                <a:latin typeface="Tahoma" panose="020B0604030504040204" pitchFamily="34" charset="0"/>
              </a:rPr>
              <a:t>Modeling</a:t>
            </a: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7302857" y="3083024"/>
            <a:ext cx="1371600" cy="838200"/>
          </a:xfrm>
          <a:prstGeom prst="rect">
            <a:avLst/>
          </a:prstGeom>
          <a:solidFill>
            <a:srgbClr val="ED19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Solution </a:t>
            </a:r>
          </a:p>
          <a:p>
            <a:pPr algn="ctr" eaLnBrk="1" hangingPunct="1"/>
            <a:r>
              <a:rPr lang="en-US">
                <a:solidFill>
                  <a:schemeClr val="bg1"/>
                </a:solidFill>
                <a:latin typeface="Tahoma" panose="020B0604030504040204" pitchFamily="34" charset="0"/>
              </a:rPr>
              <a:t>Deployment</a:t>
            </a:r>
          </a:p>
        </p:txBody>
      </p:sp>
      <p:sp>
        <p:nvSpPr>
          <p:cNvPr id="15" name="AutoShape 16"/>
          <p:cNvSpPr>
            <a:spLocks noChangeArrowheads="1"/>
          </p:cNvSpPr>
          <p:nvPr/>
        </p:nvSpPr>
        <p:spPr bwMode="auto">
          <a:xfrm>
            <a:off x="35690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6" name="AutoShape 17"/>
          <p:cNvSpPr>
            <a:spLocks noChangeArrowheads="1"/>
          </p:cNvSpPr>
          <p:nvPr/>
        </p:nvSpPr>
        <p:spPr bwMode="auto">
          <a:xfrm>
            <a:off x="1587857" y="26258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7" name="AutoShape 18"/>
          <p:cNvSpPr>
            <a:spLocks noChangeArrowheads="1"/>
          </p:cNvSpPr>
          <p:nvPr/>
        </p:nvSpPr>
        <p:spPr bwMode="auto">
          <a:xfrm>
            <a:off x="3111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8" name="AutoShape 19"/>
          <p:cNvSpPr>
            <a:spLocks noChangeArrowheads="1"/>
          </p:cNvSpPr>
          <p:nvPr/>
        </p:nvSpPr>
        <p:spPr bwMode="auto">
          <a:xfrm>
            <a:off x="15116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19" name="AutoShape 20"/>
          <p:cNvSpPr>
            <a:spLocks noChangeArrowheads="1"/>
          </p:cNvSpPr>
          <p:nvPr/>
        </p:nvSpPr>
        <p:spPr bwMode="auto">
          <a:xfrm>
            <a:off x="3873857" y="4073624"/>
            <a:ext cx="304800" cy="381000"/>
          </a:xfrm>
          <a:prstGeom prst="upDown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auto">
          <a:xfrm>
            <a:off x="5397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1" name="AutoShape 22"/>
          <p:cNvSpPr>
            <a:spLocks noChangeArrowheads="1"/>
          </p:cNvSpPr>
          <p:nvPr/>
        </p:nvSpPr>
        <p:spPr bwMode="auto">
          <a:xfrm>
            <a:off x="6921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2" name="AutoShape 23"/>
          <p:cNvSpPr>
            <a:spLocks noChangeArrowheads="1"/>
          </p:cNvSpPr>
          <p:nvPr/>
        </p:nvSpPr>
        <p:spPr bwMode="auto">
          <a:xfrm>
            <a:off x="4331057" y="4835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3" name="AutoShape 24"/>
          <p:cNvSpPr>
            <a:spLocks noChangeArrowheads="1"/>
          </p:cNvSpPr>
          <p:nvPr/>
        </p:nvSpPr>
        <p:spPr bwMode="auto">
          <a:xfrm>
            <a:off x="1968857" y="3311624"/>
            <a:ext cx="304800" cy="3810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4" name="AutoShape 25"/>
          <p:cNvSpPr>
            <a:spLocks noChangeArrowheads="1"/>
          </p:cNvSpPr>
          <p:nvPr/>
        </p:nvSpPr>
        <p:spPr bwMode="auto">
          <a:xfrm>
            <a:off x="48644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5" name="AutoShape 29"/>
          <p:cNvSpPr>
            <a:spLocks noChangeArrowheads="1"/>
          </p:cNvSpPr>
          <p:nvPr/>
        </p:nvSpPr>
        <p:spPr bwMode="auto">
          <a:xfrm>
            <a:off x="26546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6" name="AutoShape 30"/>
          <p:cNvSpPr>
            <a:spLocks noChangeArrowheads="1"/>
          </p:cNvSpPr>
          <p:nvPr/>
        </p:nvSpPr>
        <p:spPr bwMode="auto">
          <a:xfrm>
            <a:off x="58550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7" name="AutoShape 31"/>
          <p:cNvSpPr>
            <a:spLocks noChangeArrowheads="1"/>
          </p:cNvSpPr>
          <p:nvPr/>
        </p:nvSpPr>
        <p:spPr bwMode="auto">
          <a:xfrm>
            <a:off x="4788257" y="2625824"/>
            <a:ext cx="304800" cy="381000"/>
          </a:xfrm>
          <a:prstGeom prst="down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  <p:sp>
        <p:nvSpPr>
          <p:cNvPr id="28" name="AutoShape 32"/>
          <p:cNvSpPr>
            <a:spLocks noChangeArrowheads="1"/>
          </p:cNvSpPr>
          <p:nvPr/>
        </p:nvSpPr>
        <p:spPr bwMode="auto">
          <a:xfrm>
            <a:off x="2426057" y="4073624"/>
            <a:ext cx="304800" cy="381000"/>
          </a:xfrm>
          <a:prstGeom prst="upArrow">
            <a:avLst>
              <a:gd name="adj1" fmla="val 50000"/>
              <a:gd name="adj2" fmla="val 31250"/>
            </a:avLst>
          </a:prstGeom>
          <a:solidFill>
            <a:srgbClr val="7D7D7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1pPr>
            <a:lvl2pPr marL="742950" indent="-28575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2pPr>
            <a:lvl3pPr marL="11430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3pPr>
            <a:lvl4pPr marL="16002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4pPr>
            <a:lvl5pPr marL="2057400" indent="-228600" algn="r" rtl="1"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he-I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9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warehouse project Key personnel</a:t>
            </a:r>
            <a:endParaRPr lang="en-US" dirty="0"/>
          </a:p>
        </p:txBody>
      </p:sp>
      <p:graphicFrame>
        <p:nvGraphicFramePr>
          <p:cNvPr id="29" name="Diagram 28"/>
          <p:cNvGraphicFramePr/>
          <p:nvPr>
            <p:extLst>
              <p:ext uri="{D42A27DB-BD31-4B8C-83A1-F6EECF244321}">
                <p14:modId xmlns:p14="http://schemas.microsoft.com/office/powerpoint/2010/main" val="1010386214"/>
              </p:ext>
            </p:extLst>
          </p:nvPr>
        </p:nvGraphicFramePr>
        <p:xfrm>
          <a:off x="711200" y="1028700"/>
          <a:ext cx="7721600" cy="5295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2789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EDB5045C-AACA-4DE1-9525-A42668023B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>
                                            <p:graphicEl>
                                              <a:dgm id="{EDB5045C-AACA-4DE1-9525-A42668023B3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B1138DF9-C2E4-420E-9E75-59699267178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>
                                            <p:graphicEl>
                                              <a:dgm id="{B1138DF9-C2E4-420E-9E75-59699267178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B2883A50-DE0C-4F1A-B3FF-DBE7EC7412F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>
                                            <p:graphicEl>
                                              <a:dgm id="{B2883A50-DE0C-4F1A-B3FF-DBE7EC7412F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AC536893-BD10-48BA-A609-B49FFC1B83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>
                                            <p:graphicEl>
                                              <a:dgm id="{AC536893-BD10-48BA-A609-B49FFC1B83F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3013A8D8-59B7-4F0F-A617-A1B9E50652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">
                                            <p:graphicEl>
                                              <a:dgm id="{3013A8D8-59B7-4F0F-A617-A1B9E50652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8286E984-BFD9-4D1B-88E8-7D1950B681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9">
                                            <p:graphicEl>
                                              <a:dgm id="{8286E984-BFD9-4D1B-88E8-7D1950B6812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7CAC1C98-C4EF-449D-BE9A-BEB19E11A3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9">
                                            <p:graphicEl>
                                              <a:dgm id="{7CAC1C98-C4EF-449D-BE9A-BEB19E11A30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0087ED63-48AB-49A5-84A1-EEFF1CFACB3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9">
                                            <p:graphicEl>
                                              <a:dgm id="{0087ED63-48AB-49A5-84A1-EEFF1CFACB3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3324C3F2-1132-47DA-8E52-1928B11666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>
                                            <p:graphicEl>
                                              <a:dgm id="{3324C3F2-1132-47DA-8E52-1928B116666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9B7B1AAD-2A48-48FD-B8D3-9DD0AEECF72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9">
                                            <p:graphicEl>
                                              <a:dgm id="{9B7B1AAD-2A48-48FD-B8D3-9DD0AEECF72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9" grpId="0">
        <p:bldSub>
          <a:bldDgm bld="lvlAtOnce"/>
        </p:bldSub>
      </p:bldGraphic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ent-Up Arrow 4"/>
          <p:cNvSpPr/>
          <p:nvPr/>
        </p:nvSpPr>
        <p:spPr>
          <a:xfrm rot="16200000">
            <a:off x="2865499" y="4026752"/>
            <a:ext cx="787863" cy="89695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rgbClr val="ED193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746567526"/>
              </p:ext>
            </p:extLst>
          </p:nvPr>
        </p:nvGraphicFramePr>
        <p:xfrm>
          <a:off x="-684584" y="2564904"/>
          <a:ext cx="8330168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ile BI Project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67544" y="980728"/>
            <a:ext cx="8229600" cy="53285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189" lvl="8" indent="-457189" fontAlgn="base">
              <a:spcBef>
                <a:spcPct val="15000"/>
              </a:spcBef>
              <a:spcAft>
                <a:spcPct val="15000"/>
              </a:spcAft>
              <a:buClr>
                <a:srgbClr val="002060"/>
              </a:buClr>
              <a:buSzPct val="60000"/>
              <a:buFont typeface="Arial" panose="020B0604020202020204" pitchFamily="34" charset="0"/>
              <a:buChar char="•"/>
              <a:defRPr/>
            </a:pPr>
            <a:r>
              <a:rPr lang="en-US" sz="2600" dirty="0">
                <a:solidFill>
                  <a:schemeClr val="bg2"/>
                </a:solidFill>
              </a:rPr>
              <a:t>Development phase of the project will be done by combining Water Fall  in the HL Design and Architecture phase and Agile </a:t>
            </a:r>
            <a:r>
              <a:rPr lang="en-US" sz="2600" dirty="0" smtClean="0">
                <a:solidFill>
                  <a:schemeClr val="bg2"/>
                </a:solidFill>
              </a:rPr>
              <a:t>in </a:t>
            </a:r>
            <a:r>
              <a:rPr lang="en-US" sz="2600" dirty="0">
                <a:solidFill>
                  <a:schemeClr val="bg2"/>
                </a:solidFill>
              </a:rPr>
              <a:t>the development and </a:t>
            </a:r>
            <a:r>
              <a:rPr lang="en-US" sz="2600" dirty="0" smtClean="0">
                <a:solidFill>
                  <a:schemeClr val="bg2"/>
                </a:solidFill>
              </a:rPr>
              <a:t>release cycles</a:t>
            </a:r>
            <a:r>
              <a:rPr lang="en-US" sz="2600" dirty="0">
                <a:solidFill>
                  <a:schemeClr val="bg2"/>
                </a:solidFill>
              </a:rPr>
              <a:t>.</a:t>
            </a:r>
            <a:endParaRPr lang="he-IL" sz="2600" dirty="0">
              <a:solidFill>
                <a:schemeClr val="bg2"/>
              </a:solidFill>
            </a:endParaRPr>
          </a:p>
          <a:p>
            <a:pPr marL="457189" lvl="8" indent="-457189" fontAlgn="base">
              <a:spcBef>
                <a:spcPct val="15000"/>
              </a:spcBef>
              <a:spcAft>
                <a:spcPct val="15000"/>
              </a:spcAft>
              <a:buClr>
                <a:srgbClr val="002060"/>
              </a:buClr>
              <a:buSzPct val="60000"/>
              <a:buFont typeface="Arial" panose="020B0604020202020204" pitchFamily="34" charset="0"/>
              <a:buChar char="•"/>
              <a:defRPr/>
            </a:pPr>
            <a:endParaRPr lang="he-IL" sz="3200" kern="0" dirty="0">
              <a:solidFill>
                <a:schemeClr val="tx2">
                  <a:lumMod val="75000"/>
                </a:schemeClr>
              </a:solidFill>
              <a:latin typeface="Franklin Gothic Demi" pitchFamily="34" charset="0"/>
              <a:cs typeface="Gisha" pitchFamily="34" charset="-79"/>
            </a:endParaRPr>
          </a:p>
          <a:p>
            <a:pPr marL="457189" lvl="8" indent="-457189" algn="r" rtl="1" fontAlgn="base">
              <a:spcBef>
                <a:spcPct val="15000"/>
              </a:spcBef>
              <a:spcAft>
                <a:spcPct val="15000"/>
              </a:spcAft>
              <a:buClr>
                <a:srgbClr val="002060"/>
              </a:buClr>
              <a:buSzPct val="60000"/>
              <a:buFont typeface="Wingdings" pitchFamily="2" charset="2"/>
              <a:buChar char="§"/>
              <a:defRPr/>
            </a:pPr>
            <a:endParaRPr lang="he-IL" sz="3200" kern="0" dirty="0">
              <a:solidFill>
                <a:schemeClr val="tx2">
                  <a:lumMod val="75000"/>
                </a:schemeClr>
              </a:solidFill>
              <a:latin typeface="Franklin Gothic Demi" pitchFamily="34" charset="0"/>
              <a:cs typeface="Gisha" pitchFamily="34" charset="-79"/>
            </a:endParaRPr>
          </a:p>
          <a:p>
            <a:pPr marL="0" lvl="8" algn="r" rtl="1" fontAlgn="base">
              <a:spcBef>
                <a:spcPct val="15000"/>
              </a:spcBef>
              <a:spcAft>
                <a:spcPct val="15000"/>
              </a:spcAft>
              <a:buClr>
                <a:srgbClr val="289C99"/>
              </a:buClr>
              <a:buSzPct val="60000"/>
              <a:defRPr/>
            </a:pPr>
            <a:endParaRPr lang="he-IL" sz="3200" kern="0" dirty="0">
              <a:solidFill>
                <a:srgbClr val="0068A8"/>
              </a:solidFill>
              <a:latin typeface="Franklin Gothic Demi" pitchFamily="34" charset="0"/>
              <a:cs typeface="Aharoni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801375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ile BI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1807012" y="1087139"/>
            <a:ext cx="2467231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9" rIns="91440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000"/>
            <a:r>
              <a:rPr lang="en-US" sz="2600" dirty="0">
                <a:solidFill>
                  <a:schemeClr val="lt1">
                    <a:alpha val="99000"/>
                  </a:schemeClr>
                </a:solidFill>
              </a:rPr>
              <a:t>Faster TTM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510869" y="1082512"/>
            <a:ext cx="1187925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000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355785" y="1098231"/>
            <a:ext cx="4386187" cy="123263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000">
              <a:spcBef>
                <a:spcPts val="300"/>
              </a:spcBef>
            </a:pPr>
            <a:r>
              <a:rPr lang="en-US" sz="1400" dirty="0">
                <a:solidFill>
                  <a:schemeClr val="lt1">
                    <a:alpha val="99000"/>
                  </a:schemeClr>
                </a:solidFill>
              </a:rPr>
              <a:t>Time to market reduces considerably due to pin point feature development (what the customer wants) and iterative release cycles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807012" y="2394375"/>
            <a:ext cx="2467231" cy="1220485"/>
          </a:xfrm>
          <a:prstGeom prst="rect">
            <a:avLst/>
          </a:prstGeom>
          <a:solidFill>
            <a:srgbClr val="7D7D7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9" rIns="91440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000"/>
            <a:r>
              <a:rPr lang="en-US" sz="2600" dirty="0">
                <a:solidFill>
                  <a:schemeClr val="lt1">
                    <a:alpha val="99000"/>
                  </a:schemeClr>
                </a:solidFill>
              </a:rPr>
              <a:t>Adaptable to changes</a:t>
            </a:r>
            <a:endParaRPr lang="he-IL" sz="26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10869" y="2394375"/>
            <a:ext cx="1187925" cy="1220485"/>
          </a:xfrm>
          <a:prstGeom prst="rect">
            <a:avLst/>
          </a:prstGeom>
          <a:solidFill>
            <a:srgbClr val="7D7D7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000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351934" y="2394375"/>
            <a:ext cx="4386187" cy="122048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</a:bodyPr>
          <a:lstStyle/>
          <a:p>
            <a:pPr defTabSz="914000">
              <a:spcBef>
                <a:spcPts val="300"/>
              </a:spcBef>
            </a:pPr>
            <a:r>
              <a:rPr lang="en-US" sz="1400" dirty="0">
                <a:solidFill>
                  <a:schemeClr val="lt1">
                    <a:alpha val="99000"/>
                  </a:schemeClr>
                </a:solidFill>
              </a:rPr>
              <a:t>Changes in customer needs are reflected in the product and changes are more easily accepted 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807868" y="3690518"/>
            <a:ext cx="2467231" cy="1194363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9" rIns="91440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000"/>
            <a:r>
              <a:rPr lang="en-US" sz="2600" dirty="0">
                <a:solidFill>
                  <a:schemeClr val="lt1">
                    <a:alpha val="99000"/>
                  </a:schemeClr>
                </a:solidFill>
              </a:rPr>
              <a:t>Development Speed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510869" y="3690518"/>
            <a:ext cx="1187925" cy="1194363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000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4351934" y="3690518"/>
            <a:ext cx="4386187" cy="119436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</a:bodyPr>
          <a:lstStyle/>
          <a:p>
            <a:pPr defTabSz="914000">
              <a:spcBef>
                <a:spcPts val="300"/>
              </a:spcBef>
            </a:pPr>
            <a:r>
              <a:rPr lang="en-US" sz="1400" dirty="0">
                <a:solidFill>
                  <a:schemeClr val="lt1">
                    <a:alpha val="99000"/>
                  </a:schemeClr>
                </a:solidFill>
              </a:rPr>
              <a:t>After the initial drop where most of the effort is made to release stable infrastructure, features are released in a high velocity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1818212" y="4986662"/>
            <a:ext cx="2467231" cy="1194363"/>
          </a:xfrm>
          <a:prstGeom prst="rect">
            <a:avLst/>
          </a:prstGeom>
          <a:solidFill>
            <a:srgbClr val="880A1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000"/>
            <a:r>
              <a:rPr lang="en-US" sz="2600" dirty="0">
                <a:solidFill>
                  <a:schemeClr val="lt1">
                    <a:alpha val="99000"/>
                  </a:schemeClr>
                </a:solidFill>
              </a:rPr>
              <a:t>Time Intelligent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521213" y="4986662"/>
            <a:ext cx="1187925" cy="1194363"/>
          </a:xfrm>
          <a:prstGeom prst="rect">
            <a:avLst/>
          </a:prstGeom>
          <a:solidFill>
            <a:srgbClr val="880A1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000"/>
            <a:endParaRPr lang="en-US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4362278" y="4986662"/>
            <a:ext cx="4386187" cy="119436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</a:bodyPr>
          <a:lstStyle/>
          <a:p>
            <a:pPr defTabSz="914000">
              <a:spcBef>
                <a:spcPts val="300"/>
              </a:spcBef>
            </a:pPr>
            <a:r>
              <a:rPr lang="en-US" sz="1400" dirty="0">
                <a:solidFill>
                  <a:schemeClr val="lt1">
                    <a:alpha val="99000"/>
                  </a:schemeClr>
                </a:solidFill>
              </a:rPr>
              <a:t>Working in short end to end work units provides higher adaptability allowing feature release in very early stages of the development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994" y="5323626"/>
            <a:ext cx="523875" cy="476251"/>
          </a:xfrm>
          <a:prstGeom prst="rect">
            <a:avLst/>
          </a:prstGeom>
          <a:solidFill>
            <a:srgbClr val="880A1F"/>
          </a:solidFill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938" y="1282386"/>
            <a:ext cx="865841" cy="865841"/>
          </a:xfrm>
          <a:prstGeom prst="rect">
            <a:avLst/>
          </a:prstGeom>
          <a:solidFill>
            <a:srgbClr val="ED1933"/>
          </a:solidFill>
        </p:spPr>
      </p:pic>
      <p:sp>
        <p:nvSpPr>
          <p:cNvPr id="18" name="Right Arrow 17"/>
          <p:cNvSpPr/>
          <p:nvPr/>
        </p:nvSpPr>
        <p:spPr>
          <a:xfrm rot="19231205" flipH="1">
            <a:off x="1047294" y="1520889"/>
            <a:ext cx="282297" cy="196297"/>
          </a:xfrm>
          <a:prstGeom prst="right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alpha val="99000"/>
                </a:schemeClr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511" y="2564022"/>
            <a:ext cx="870967" cy="840553"/>
          </a:xfrm>
          <a:prstGeom prst="rect">
            <a:avLst/>
          </a:prstGeom>
          <a:solidFill>
            <a:srgbClr val="7D7D7D"/>
          </a:solidFill>
        </p:spPr>
      </p:pic>
      <p:sp>
        <p:nvSpPr>
          <p:cNvPr id="20" name="Circular Arrow 19"/>
          <p:cNvSpPr/>
          <p:nvPr/>
        </p:nvSpPr>
        <p:spPr>
          <a:xfrm>
            <a:off x="804188" y="3716641"/>
            <a:ext cx="720495" cy="687357"/>
          </a:xfrm>
          <a:prstGeom prst="circularArrow">
            <a:avLst>
              <a:gd name="adj1" fmla="val 10980"/>
              <a:gd name="adj2" fmla="val 1142322"/>
              <a:gd name="adj3" fmla="val 4500000"/>
              <a:gd name="adj4" fmla="val 10800000"/>
              <a:gd name="adj5" fmla="val 12500"/>
            </a:avLst>
          </a:prstGeom>
          <a:solidFill>
            <a:srgbClr val="FFFF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Freeform 20"/>
          <p:cNvSpPr/>
          <p:nvPr/>
        </p:nvSpPr>
        <p:spPr>
          <a:xfrm>
            <a:off x="963316" y="3965492"/>
            <a:ext cx="401979" cy="191717"/>
          </a:xfrm>
          <a:custGeom>
            <a:avLst/>
            <a:gdLst>
              <a:gd name="connsiteX0" fmla="*/ 0 w 1511173"/>
              <a:gd name="connsiteY0" fmla="*/ 0 h 755497"/>
              <a:gd name="connsiteX1" fmla="*/ 1511173 w 1511173"/>
              <a:gd name="connsiteY1" fmla="*/ 0 h 755497"/>
              <a:gd name="connsiteX2" fmla="*/ 1511173 w 1511173"/>
              <a:gd name="connsiteY2" fmla="*/ 755497 h 755497"/>
              <a:gd name="connsiteX3" fmla="*/ 0 w 1511173"/>
              <a:gd name="connsiteY3" fmla="*/ 755497 h 755497"/>
              <a:gd name="connsiteX4" fmla="*/ 0 w 1511173"/>
              <a:gd name="connsiteY4" fmla="*/ 0 h 755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1173" h="755497">
                <a:moveTo>
                  <a:pt x="0" y="0"/>
                </a:moveTo>
                <a:lnTo>
                  <a:pt x="1511173" y="0"/>
                </a:lnTo>
                <a:lnTo>
                  <a:pt x="1511173" y="755497"/>
                </a:lnTo>
                <a:lnTo>
                  <a:pt x="0" y="75549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20" tIns="33020" rIns="33020" bIns="33020" numCol="1" spcCol="1270" anchor="ctr" anchorCtr="0">
            <a:noAutofit/>
          </a:bodyPr>
          <a:lstStyle/>
          <a:p>
            <a:pPr algn="ctr" defTabSz="2311342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e-IL" sz="5200" dirty="0"/>
              <a:t> </a:t>
            </a:r>
          </a:p>
        </p:txBody>
      </p:sp>
      <p:sp>
        <p:nvSpPr>
          <p:cNvPr id="22" name="Block Arc 21"/>
          <p:cNvSpPr/>
          <p:nvPr/>
        </p:nvSpPr>
        <p:spPr>
          <a:xfrm>
            <a:off x="655459" y="4157209"/>
            <a:ext cx="618960" cy="590725"/>
          </a:xfrm>
          <a:prstGeom prst="blockArc">
            <a:avLst>
              <a:gd name="adj1" fmla="val 0"/>
              <a:gd name="adj2" fmla="val 18900000"/>
              <a:gd name="adj3" fmla="val 12740"/>
            </a:avLst>
          </a:prstGeom>
          <a:solidFill>
            <a:srgbClr val="FFFF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Freeform 22"/>
          <p:cNvSpPr/>
          <p:nvPr/>
        </p:nvSpPr>
        <p:spPr>
          <a:xfrm>
            <a:off x="762326" y="4361199"/>
            <a:ext cx="401979" cy="191717"/>
          </a:xfrm>
          <a:custGeom>
            <a:avLst/>
            <a:gdLst>
              <a:gd name="connsiteX0" fmla="*/ 0 w 1511173"/>
              <a:gd name="connsiteY0" fmla="*/ 0 h 755497"/>
              <a:gd name="connsiteX1" fmla="*/ 1511173 w 1511173"/>
              <a:gd name="connsiteY1" fmla="*/ 0 h 755497"/>
              <a:gd name="connsiteX2" fmla="*/ 1511173 w 1511173"/>
              <a:gd name="connsiteY2" fmla="*/ 755497 h 755497"/>
              <a:gd name="connsiteX3" fmla="*/ 0 w 1511173"/>
              <a:gd name="connsiteY3" fmla="*/ 755497 h 755497"/>
              <a:gd name="connsiteX4" fmla="*/ 0 w 1511173"/>
              <a:gd name="connsiteY4" fmla="*/ 0 h 755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1173" h="755497">
                <a:moveTo>
                  <a:pt x="0" y="0"/>
                </a:moveTo>
                <a:lnTo>
                  <a:pt x="1511173" y="0"/>
                </a:lnTo>
                <a:lnTo>
                  <a:pt x="1511173" y="755497"/>
                </a:lnTo>
                <a:lnTo>
                  <a:pt x="0" y="75549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20" tIns="33020" rIns="33020" bIns="33020" numCol="1" spcCol="1270" anchor="ctr" anchorCtr="0">
            <a:noAutofit/>
          </a:bodyPr>
          <a:lstStyle/>
          <a:p>
            <a:pPr algn="ctr" defTabSz="2311342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e-IL" sz="5200" dirty="0"/>
              <a:t> </a:t>
            </a:r>
          </a:p>
        </p:txBody>
      </p:sp>
      <p:sp>
        <p:nvSpPr>
          <p:cNvPr id="24" name="Right Arrow 23"/>
          <p:cNvSpPr/>
          <p:nvPr/>
        </p:nvSpPr>
        <p:spPr>
          <a:xfrm rot="19231205" flipH="1">
            <a:off x="1185619" y="5228905"/>
            <a:ext cx="415776" cy="324373"/>
          </a:xfrm>
          <a:prstGeom prst="rightArrow">
            <a:avLst/>
          </a:prstGeom>
          <a:solidFill>
            <a:schemeClr val="bg1"/>
          </a:solidFill>
          <a:ln>
            <a:solidFill>
              <a:srgbClr val="880A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alpha val="99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89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53159" y="3224163"/>
            <a:ext cx="8327279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Common Practices and Concep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8019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</a:t>
            </a:r>
            <a:endParaRPr lang="en-US" dirty="0"/>
          </a:p>
        </p:txBody>
      </p:sp>
      <p:sp>
        <p:nvSpPr>
          <p:cNvPr id="66" name="Rectangle 3"/>
          <p:cNvSpPr txBox="1">
            <a:spLocks noChangeArrowheads="1"/>
          </p:cNvSpPr>
          <p:nvPr/>
        </p:nvSpPr>
        <p:spPr>
          <a:xfrm>
            <a:off x="167268" y="1143000"/>
            <a:ext cx="8798312" cy="50749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28650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73138" indent="-331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58888" indent="-24923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43050" indent="-2730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800" dirty="0" smtClean="0"/>
              <a:t>Design</a:t>
            </a:r>
          </a:p>
          <a:p>
            <a:pPr lvl="2"/>
            <a:r>
              <a:rPr lang="en-US" sz="2600" dirty="0" smtClean="0"/>
              <a:t>Top Down vs. Bottom Up</a:t>
            </a:r>
          </a:p>
          <a:p>
            <a:pPr lvl="2"/>
            <a:r>
              <a:rPr lang="en-US" sz="2600" dirty="0" smtClean="0"/>
              <a:t>Shared data infrastructure</a:t>
            </a:r>
          </a:p>
          <a:p>
            <a:pPr lvl="2"/>
            <a:r>
              <a:rPr lang="en-US" sz="2600" dirty="0" smtClean="0"/>
              <a:t>Data Structure</a:t>
            </a:r>
          </a:p>
          <a:p>
            <a:pPr lvl="1"/>
            <a:r>
              <a:rPr lang="en-US" sz="2800" dirty="0" smtClean="0"/>
              <a:t>Information Systems (Ecosystem)</a:t>
            </a:r>
          </a:p>
          <a:p>
            <a:pPr lvl="2"/>
            <a:r>
              <a:rPr lang="en-US" sz="2600" dirty="0" smtClean="0"/>
              <a:t>Relational Database</a:t>
            </a:r>
          </a:p>
          <a:p>
            <a:pPr lvl="2"/>
            <a:r>
              <a:rPr lang="en-US" sz="2600" dirty="0" smtClean="0"/>
              <a:t>OLAP</a:t>
            </a:r>
          </a:p>
          <a:p>
            <a:pPr lvl="2"/>
            <a:r>
              <a:rPr lang="en-US" sz="2600" dirty="0" smtClean="0"/>
              <a:t>In-Memory</a:t>
            </a:r>
          </a:p>
          <a:p>
            <a:pPr lvl="1"/>
            <a:endParaRPr lang="en-US" sz="3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75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– Top down vs. Bottom up</a:t>
            </a:r>
            <a:endParaRPr lang="en-US" dirty="0"/>
          </a:p>
        </p:txBody>
      </p:sp>
      <p:sp>
        <p:nvSpPr>
          <p:cNvPr id="58" name="TextBox 57"/>
          <p:cNvSpPr txBox="1"/>
          <p:nvPr/>
        </p:nvSpPr>
        <p:spPr>
          <a:xfrm>
            <a:off x="1383596" y="1029887"/>
            <a:ext cx="255278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0" lvl="8" algn="r" rtl="1" fontAlgn="base">
              <a:spcBef>
                <a:spcPct val="15000"/>
              </a:spcBef>
              <a:spcAft>
                <a:spcPct val="15000"/>
              </a:spcAft>
              <a:buClr>
                <a:srgbClr val="002060"/>
              </a:buClr>
              <a:buSzPct val="60000"/>
              <a:defRPr/>
            </a:pPr>
            <a:r>
              <a:rPr lang="en-US" sz="3200" b="1" dirty="0">
                <a:solidFill>
                  <a:schemeClr val="accent1"/>
                </a:solidFill>
              </a:rPr>
              <a:t>Top Down</a:t>
            </a:r>
            <a:endParaRPr lang="he-IL" sz="3200" b="1" dirty="0">
              <a:solidFill>
                <a:schemeClr val="accent1"/>
              </a:solidFill>
            </a:endParaRPr>
          </a:p>
        </p:txBody>
      </p:sp>
      <p:graphicFrame>
        <p:nvGraphicFramePr>
          <p:cNvPr id="59" name="Diagram 58"/>
          <p:cNvGraphicFramePr/>
          <p:nvPr>
            <p:extLst/>
          </p:nvPr>
        </p:nvGraphicFramePr>
        <p:xfrm>
          <a:off x="511507" y="1707153"/>
          <a:ext cx="4320480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60" name="Group 59"/>
          <p:cNvGrpSpPr/>
          <p:nvPr/>
        </p:nvGrpSpPr>
        <p:grpSpPr>
          <a:xfrm>
            <a:off x="4582344" y="1722928"/>
            <a:ext cx="4114799" cy="4118660"/>
            <a:chOff x="4582344" y="1628799"/>
            <a:chExt cx="4114799" cy="4118660"/>
          </a:xfrm>
        </p:grpSpPr>
        <p:sp>
          <p:nvSpPr>
            <p:cNvPr id="61" name="Freeform 60"/>
            <p:cNvSpPr/>
            <p:nvPr/>
          </p:nvSpPr>
          <p:spPr>
            <a:xfrm>
              <a:off x="4582344" y="1628799"/>
              <a:ext cx="4114799" cy="1372888"/>
            </a:xfrm>
            <a:custGeom>
              <a:avLst/>
              <a:gdLst>
                <a:gd name="connsiteX0" fmla="*/ 0 w 4114799"/>
                <a:gd name="connsiteY0" fmla="*/ 1372886 h 1372886"/>
                <a:gd name="connsiteX1" fmla="*/ 685798 w 4114799"/>
                <a:gd name="connsiteY1" fmla="*/ 0 h 1372886"/>
                <a:gd name="connsiteX2" fmla="*/ 3429001 w 4114799"/>
                <a:gd name="connsiteY2" fmla="*/ 0 h 1372886"/>
                <a:gd name="connsiteX3" fmla="*/ 4114799 w 4114799"/>
                <a:gd name="connsiteY3" fmla="*/ 1372886 h 1372886"/>
                <a:gd name="connsiteX4" fmla="*/ 0 w 4114799"/>
                <a:gd name="connsiteY4" fmla="*/ 1372886 h 137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4799" h="1372886">
                  <a:moveTo>
                    <a:pt x="4114799" y="1"/>
                  </a:moveTo>
                  <a:lnTo>
                    <a:pt x="3429001" y="1372885"/>
                  </a:lnTo>
                  <a:lnTo>
                    <a:pt x="685798" y="1372885"/>
                  </a:lnTo>
                  <a:lnTo>
                    <a:pt x="0" y="1"/>
                  </a:lnTo>
                  <a:lnTo>
                    <a:pt x="4114799" y="1"/>
                  </a:lnTo>
                  <a:close/>
                </a:path>
              </a:pathLst>
            </a:custGeom>
            <a:solidFill>
              <a:srgbClr val="46464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42949" tIns="22861" rIns="742950" bIns="22861" numCol="1" spcCol="1270" anchor="ctr" anchorCtr="0">
              <a:noAutofit/>
            </a:bodyPr>
            <a:lstStyle/>
            <a:p>
              <a:pPr lvl="0" algn="ctr" defTabSz="8001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 smtClean="0">
                  <a:solidFill>
                    <a:srgbClr val="FFFFFF"/>
                  </a:solidFill>
                </a:rPr>
                <a:t>Business discovery</a:t>
              </a:r>
              <a:endParaRPr lang="he-IL" sz="1800" b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62" name="Freeform 61"/>
            <p:cNvSpPr/>
            <p:nvPr/>
          </p:nvSpPr>
          <p:spPr>
            <a:xfrm>
              <a:off x="5268143" y="3001686"/>
              <a:ext cx="2743200" cy="1372887"/>
            </a:xfrm>
            <a:custGeom>
              <a:avLst/>
              <a:gdLst>
                <a:gd name="connsiteX0" fmla="*/ 0 w 2743199"/>
                <a:gd name="connsiteY0" fmla="*/ 1372886 h 1372886"/>
                <a:gd name="connsiteX1" fmla="*/ 685798 w 2743199"/>
                <a:gd name="connsiteY1" fmla="*/ 0 h 1372886"/>
                <a:gd name="connsiteX2" fmla="*/ 2057401 w 2743199"/>
                <a:gd name="connsiteY2" fmla="*/ 0 h 1372886"/>
                <a:gd name="connsiteX3" fmla="*/ 2743199 w 2743199"/>
                <a:gd name="connsiteY3" fmla="*/ 1372886 h 1372886"/>
                <a:gd name="connsiteX4" fmla="*/ 0 w 2743199"/>
                <a:gd name="connsiteY4" fmla="*/ 1372886 h 137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3199" h="1372886">
                  <a:moveTo>
                    <a:pt x="2743199" y="0"/>
                  </a:moveTo>
                  <a:lnTo>
                    <a:pt x="2057401" y="1372886"/>
                  </a:lnTo>
                  <a:lnTo>
                    <a:pt x="685798" y="1372886"/>
                  </a:lnTo>
                  <a:lnTo>
                    <a:pt x="0" y="0"/>
                  </a:lnTo>
                  <a:lnTo>
                    <a:pt x="2743199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2921" tIns="22860" rIns="502919" bIns="22861" numCol="1" spcCol="1270" anchor="ctr" anchorCtr="0">
              <a:noAutofit/>
            </a:bodyPr>
            <a:lstStyle/>
            <a:p>
              <a:pPr lvl="0" algn="ctr" defTabSz="8001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 smtClean="0">
                  <a:solidFill>
                    <a:srgbClr val="FFFFFF"/>
                  </a:solidFill>
                </a:rPr>
                <a:t>Construction of the model</a:t>
              </a:r>
              <a:endParaRPr lang="he-IL" sz="18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63" name="Freeform 62"/>
            <p:cNvSpPr/>
            <p:nvPr/>
          </p:nvSpPr>
          <p:spPr>
            <a:xfrm>
              <a:off x="5953944" y="4374572"/>
              <a:ext cx="1371599" cy="1372887"/>
            </a:xfrm>
            <a:custGeom>
              <a:avLst/>
              <a:gdLst>
                <a:gd name="connsiteX0" fmla="*/ 0 w 1371599"/>
                <a:gd name="connsiteY0" fmla="*/ 1372886 h 1372886"/>
                <a:gd name="connsiteX1" fmla="*/ 685800 w 1371599"/>
                <a:gd name="connsiteY1" fmla="*/ 0 h 1372886"/>
                <a:gd name="connsiteX2" fmla="*/ 685800 w 1371599"/>
                <a:gd name="connsiteY2" fmla="*/ 0 h 1372886"/>
                <a:gd name="connsiteX3" fmla="*/ 1371599 w 1371599"/>
                <a:gd name="connsiteY3" fmla="*/ 1372886 h 1372886"/>
                <a:gd name="connsiteX4" fmla="*/ 0 w 1371599"/>
                <a:gd name="connsiteY4" fmla="*/ 1372886 h 137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599" h="1372886">
                  <a:moveTo>
                    <a:pt x="1371599" y="0"/>
                  </a:moveTo>
                  <a:lnTo>
                    <a:pt x="685799" y="1372886"/>
                  </a:lnTo>
                  <a:lnTo>
                    <a:pt x="685799" y="1372886"/>
                  </a:lnTo>
                  <a:lnTo>
                    <a:pt x="0" y="0"/>
                  </a:lnTo>
                  <a:lnTo>
                    <a:pt x="1371599" y="0"/>
                  </a:lnTo>
                  <a:close/>
                </a:path>
              </a:pathLst>
            </a:custGeom>
            <a:solidFill>
              <a:srgbClr val="ED19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1" numCol="1" spcCol="1270" anchor="ctr" anchorCtr="0">
              <a:noAutofit/>
            </a:bodyPr>
            <a:lstStyle/>
            <a:p>
              <a:pPr lvl="0" algn="ctr" defTabSz="8001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he-IL" sz="1800" kern="1200" dirty="0"/>
            </a:p>
          </p:txBody>
        </p:sp>
      </p:grpSp>
      <p:sp>
        <p:nvSpPr>
          <p:cNvPr id="64" name="TextBox 63"/>
          <p:cNvSpPr txBox="1"/>
          <p:nvPr/>
        </p:nvSpPr>
        <p:spPr>
          <a:xfrm>
            <a:off x="5268143" y="1029887"/>
            <a:ext cx="2743200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0" lvl="8" algn="r" rtl="1" fontAlgn="base">
              <a:spcBef>
                <a:spcPct val="15000"/>
              </a:spcBef>
              <a:spcAft>
                <a:spcPct val="15000"/>
              </a:spcAft>
              <a:buClr>
                <a:srgbClr val="002060"/>
              </a:buClr>
              <a:buSzPct val="60000"/>
              <a:defRPr/>
            </a:pPr>
            <a:r>
              <a:rPr lang="en-US" sz="3200" b="1" dirty="0">
                <a:solidFill>
                  <a:schemeClr val="accent1"/>
                </a:solidFill>
              </a:rPr>
              <a:t>Bottom UP</a:t>
            </a:r>
            <a:endParaRPr lang="he-IL" sz="3200" b="1" dirty="0">
              <a:solidFill>
                <a:schemeClr val="accent1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5820779" y="4505894"/>
            <a:ext cx="1637928" cy="8248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00100">
              <a:lnSpc>
                <a:spcPct val="90000"/>
              </a:lnSpc>
              <a:spcAft>
                <a:spcPct val="35000"/>
              </a:spcAft>
            </a:pPr>
            <a:r>
              <a:rPr lang="en-US" sz="1400" dirty="0" smtClean="0">
                <a:solidFill>
                  <a:srgbClr val="FFFFFF"/>
                </a:solidFill>
              </a:rPr>
              <a:t>Provide</a:t>
            </a:r>
          </a:p>
          <a:p>
            <a:pPr lvl="0" algn="ctr" defTabSz="800100">
              <a:lnSpc>
                <a:spcPct val="90000"/>
              </a:lnSpc>
              <a:spcAft>
                <a:spcPct val="35000"/>
              </a:spcAft>
            </a:pPr>
            <a:r>
              <a:rPr lang="en-US" sz="1400" dirty="0">
                <a:solidFill>
                  <a:srgbClr val="FFFFFF"/>
                </a:solidFill>
              </a:rPr>
              <a:t>to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</a:p>
          <a:p>
            <a:pPr lvl="0" algn="ctr" defTabSz="800100">
              <a:lnSpc>
                <a:spcPct val="90000"/>
              </a:lnSpc>
              <a:spcAft>
                <a:spcPct val="35000"/>
              </a:spcAft>
            </a:pPr>
            <a:r>
              <a:rPr lang="en-US" sz="1400" dirty="0" smtClean="0">
                <a:solidFill>
                  <a:srgbClr val="FFFFFF"/>
                </a:solidFill>
              </a:rPr>
              <a:t>users</a:t>
            </a:r>
            <a:endParaRPr lang="he-IL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02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Graphic spid="59" grpId="0">
        <p:bldAsOne/>
      </p:bldGraphic>
      <p:bldP spid="6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53159" y="3224163"/>
            <a:ext cx="8327279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Introduction and </a:t>
            </a: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Reaso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6387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teps for a Data </a:t>
            </a:r>
            <a:r>
              <a:rPr lang="en-US" dirty="0" err="1" smtClean="0"/>
              <a:t>warhouse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289134544"/>
              </p:ext>
            </p:extLst>
          </p:nvPr>
        </p:nvGraphicFramePr>
        <p:xfrm>
          <a:off x="919843" y="1224642"/>
          <a:ext cx="7342414" cy="4546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81441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1571432-935F-418F-8EB1-EA1A43050B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32B63A8-7001-4434-BD69-554A51DC8A3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56EF88F-9E94-4F03-8913-E60B0241E7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990128D4-9D68-43FE-B44C-02E4F512763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70F85EA-3EE6-4E25-A88F-5842DF78185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87DC7F0-8038-432B-BCBD-7A04E402934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5DDF033-1C3F-44BE-99F0-3D544B41FD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47EFA7E-7E44-4191-A7FB-58CF9E508F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6DBD24B-BA4E-423B-9E63-B7AD618CAD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B61A90B-997E-4CEF-8930-D8FD01DF341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AD964DF-B060-4951-AE43-788D8E2CB9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FF049AE-C54A-4D31-908C-A502B61505B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9058533-7A69-4FC8-A38C-6B64C7742ED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DAF4C77-2822-46D2-BF72-F99946346FF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00BB581-449A-4E43-88E0-9AC805893AB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teps for a Data warehouse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625716015"/>
              </p:ext>
            </p:extLst>
          </p:nvPr>
        </p:nvGraphicFramePr>
        <p:xfrm>
          <a:off x="919843" y="1224642"/>
          <a:ext cx="7342414" cy="4546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38580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1571432-935F-418F-8EB1-EA1A43050B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32B63A8-7001-4434-BD69-554A51DC8A3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56EF88F-9E94-4F03-8913-E60B0241E7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990128D4-9D68-43FE-B44C-02E4F512763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70F85EA-3EE6-4E25-A88F-5842DF78185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87DC7F0-8038-432B-BCBD-7A04E402934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5DDF033-1C3F-44BE-99F0-3D544B41FD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47EFA7E-7E44-4191-A7FB-58CF9E508F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6DBD24B-BA4E-423B-9E63-B7AD618CAD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/>
          <p:cNvSpPr/>
          <p:nvPr/>
        </p:nvSpPr>
        <p:spPr bwMode="auto">
          <a:xfrm>
            <a:off x="1731378" y="1969642"/>
            <a:ext cx="2467230" cy="1232631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Extract</a:t>
            </a:r>
          </a:p>
        </p:txBody>
      </p:sp>
      <p:sp>
        <p:nvSpPr>
          <p:cNvPr id="98" name="Rectangle 97"/>
          <p:cNvSpPr/>
          <p:nvPr/>
        </p:nvSpPr>
        <p:spPr bwMode="auto">
          <a:xfrm>
            <a:off x="477319" y="1969642"/>
            <a:ext cx="1187925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99" name="Rectangle 98"/>
          <p:cNvSpPr/>
          <p:nvPr/>
        </p:nvSpPr>
        <p:spPr bwMode="auto">
          <a:xfrm>
            <a:off x="4276906" y="1969642"/>
            <a:ext cx="4386186" cy="1232631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 defTabSz="91402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The process of extracting data from one or more sources and creation of a mirror for that data source </a:t>
            </a:r>
            <a:endParaRPr lang="he-IL" sz="1400" dirty="0" smtClean="0">
              <a:solidFill>
                <a:schemeClr val="lt1">
                  <a:alpha val="99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74564" y="2224864"/>
            <a:ext cx="755685" cy="744096"/>
            <a:chOff x="7721573" y="2057811"/>
            <a:chExt cx="755685" cy="744096"/>
          </a:xfrm>
        </p:grpSpPr>
        <p:pic>
          <p:nvPicPr>
            <p:cNvPr id="88" name="Picture 3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748665" y="2057811"/>
              <a:ext cx="206742" cy="221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9" name="Picture 2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7752323" y="2316474"/>
              <a:ext cx="190069" cy="2375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0" name="Picture 9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1404" y="2105521"/>
              <a:ext cx="295854" cy="5962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91" name="Group 90"/>
            <p:cNvGrpSpPr/>
            <p:nvPr/>
          </p:nvGrpSpPr>
          <p:grpSpPr>
            <a:xfrm>
              <a:off x="7721573" y="2601632"/>
              <a:ext cx="253245" cy="200275"/>
              <a:chOff x="954121" y="4125939"/>
              <a:chExt cx="420336" cy="327409"/>
            </a:xfrm>
          </p:grpSpPr>
          <p:sp>
            <p:nvSpPr>
              <p:cNvPr id="95" name="Oval 44"/>
              <p:cNvSpPr/>
              <p:nvPr/>
            </p:nvSpPr>
            <p:spPr bwMode="auto">
              <a:xfrm>
                <a:off x="954121" y="4125939"/>
                <a:ext cx="420336" cy="327409"/>
              </a:xfrm>
              <a:custGeom>
                <a:avLst/>
                <a:gdLst/>
                <a:ahLst/>
                <a:cxnLst/>
                <a:rect l="l" t="t" r="r" b="b"/>
                <a:pathLst>
                  <a:path w="1661351" h="1149303">
                    <a:moveTo>
                      <a:pt x="830675" y="290128"/>
                    </a:moveTo>
                    <a:lnTo>
                      <a:pt x="559387" y="491565"/>
                    </a:lnTo>
                    <a:lnTo>
                      <a:pt x="695031" y="491565"/>
                    </a:lnTo>
                    <a:lnTo>
                      <a:pt x="695031" y="880286"/>
                    </a:lnTo>
                    <a:lnTo>
                      <a:pt x="966319" y="880286"/>
                    </a:lnTo>
                    <a:lnTo>
                      <a:pt x="966319" y="491565"/>
                    </a:lnTo>
                    <a:lnTo>
                      <a:pt x="1101963" y="491565"/>
                    </a:lnTo>
                    <a:close/>
                    <a:moveTo>
                      <a:pt x="998696" y="0"/>
                    </a:moveTo>
                    <a:cubicBezTo>
                      <a:pt x="1214745" y="0"/>
                      <a:pt x="1389888" y="175143"/>
                      <a:pt x="1389888" y="391192"/>
                    </a:cubicBezTo>
                    <a:lnTo>
                      <a:pt x="1387108" y="425150"/>
                    </a:lnTo>
                    <a:cubicBezTo>
                      <a:pt x="1410399" y="415356"/>
                      <a:pt x="1435992" y="410031"/>
                      <a:pt x="1462829" y="410031"/>
                    </a:cubicBezTo>
                    <a:cubicBezTo>
                      <a:pt x="1572470" y="410031"/>
                      <a:pt x="1661351" y="498912"/>
                      <a:pt x="1661351" y="608553"/>
                    </a:cubicBezTo>
                    <a:cubicBezTo>
                      <a:pt x="1661351" y="718194"/>
                      <a:pt x="1572470" y="807075"/>
                      <a:pt x="1462829" y="807075"/>
                    </a:cubicBezTo>
                    <a:cubicBezTo>
                      <a:pt x="1441340" y="807075"/>
                      <a:pt x="1420648" y="803661"/>
                      <a:pt x="1401560" y="796443"/>
                    </a:cubicBezTo>
                    <a:cubicBezTo>
                      <a:pt x="1391444" y="871250"/>
                      <a:pt x="1326565" y="927638"/>
                      <a:pt x="1248515" y="927638"/>
                    </a:cubicBezTo>
                    <a:cubicBezTo>
                      <a:pt x="1213377" y="927638"/>
                      <a:pt x="1180909" y="916209"/>
                      <a:pt x="1156285" y="894609"/>
                    </a:cubicBezTo>
                    <a:lnTo>
                      <a:pt x="1146742" y="922922"/>
                    </a:lnTo>
                    <a:cubicBezTo>
                      <a:pt x="1116072" y="1052925"/>
                      <a:pt x="999092" y="1149303"/>
                      <a:pt x="859601" y="1149303"/>
                    </a:cubicBezTo>
                    <a:cubicBezTo>
                      <a:pt x="778140" y="1149303"/>
                      <a:pt x="704356" y="1116434"/>
                      <a:pt x="650856" y="1063166"/>
                    </a:cubicBezTo>
                    <a:cubicBezTo>
                      <a:pt x="629378" y="1069684"/>
                      <a:pt x="606548" y="1072474"/>
                      <a:pt x="583067" y="1072474"/>
                    </a:cubicBezTo>
                    <a:cubicBezTo>
                      <a:pt x="441635" y="1072474"/>
                      <a:pt x="323842" y="971260"/>
                      <a:pt x="298508" y="837249"/>
                    </a:cubicBezTo>
                    <a:cubicBezTo>
                      <a:pt x="271272" y="854603"/>
                      <a:pt x="238833" y="863114"/>
                      <a:pt x="204406" y="863114"/>
                    </a:cubicBezTo>
                    <a:cubicBezTo>
                      <a:pt x="91516" y="863114"/>
                      <a:pt x="0" y="771598"/>
                      <a:pt x="0" y="658708"/>
                    </a:cubicBezTo>
                    <a:cubicBezTo>
                      <a:pt x="0" y="545818"/>
                      <a:pt x="91516" y="454302"/>
                      <a:pt x="204406" y="454302"/>
                    </a:cubicBezTo>
                    <a:lnTo>
                      <a:pt x="233918" y="457277"/>
                    </a:lnTo>
                    <a:cubicBezTo>
                      <a:pt x="222386" y="429473"/>
                      <a:pt x="216312" y="398969"/>
                      <a:pt x="216312" y="367046"/>
                    </a:cubicBezTo>
                    <a:cubicBezTo>
                      <a:pt x="216312" y="231035"/>
                      <a:pt x="326570" y="120777"/>
                      <a:pt x="462581" y="120777"/>
                    </a:cubicBezTo>
                    <a:cubicBezTo>
                      <a:pt x="539633" y="120777"/>
                      <a:pt x="608421" y="156164"/>
                      <a:pt x="652706" y="212283"/>
                    </a:cubicBezTo>
                    <a:cubicBezTo>
                      <a:pt x="716234" y="85845"/>
                      <a:pt x="847440" y="0"/>
                      <a:pt x="99869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2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lt1">
                      <a:alpha val="99000"/>
                    </a:schemeClr>
                  </a:solidFill>
                </a:endParaRP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1053435" y="4199268"/>
                <a:ext cx="234461" cy="1807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e-IL" dirty="0"/>
              </a:p>
            </p:txBody>
          </p:sp>
        </p:grpSp>
        <p:sp>
          <p:nvSpPr>
            <p:cNvPr id="92" name="Right Arrow 91"/>
            <p:cNvSpPr/>
            <p:nvPr>
              <p:custDataLst>
                <p:tags r:id="rId3"/>
              </p:custDataLst>
            </p:nvPr>
          </p:nvSpPr>
          <p:spPr>
            <a:xfrm rot="1594423">
              <a:off x="7995477" y="2240551"/>
              <a:ext cx="182287" cy="73249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93" name="Right Arrow 92"/>
            <p:cNvSpPr/>
            <p:nvPr>
              <p:custDataLst>
                <p:tags r:id="rId4"/>
              </p:custDataLst>
            </p:nvPr>
          </p:nvSpPr>
          <p:spPr>
            <a:xfrm>
              <a:off x="7974818" y="2393070"/>
              <a:ext cx="182287" cy="73249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94" name="Right Arrow 93"/>
            <p:cNvSpPr/>
            <p:nvPr>
              <p:custDataLst>
                <p:tags r:id="rId5"/>
              </p:custDataLst>
            </p:nvPr>
          </p:nvSpPr>
          <p:spPr>
            <a:xfrm rot="20023780" flipV="1">
              <a:off x="7992828" y="2547537"/>
              <a:ext cx="182287" cy="73249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  <p:sp>
        <p:nvSpPr>
          <p:cNvPr id="101" name="Rectangle 100"/>
          <p:cNvSpPr/>
          <p:nvPr/>
        </p:nvSpPr>
        <p:spPr bwMode="auto">
          <a:xfrm>
            <a:off x="1728835" y="3265786"/>
            <a:ext cx="2467230" cy="1220485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Transform</a:t>
            </a:r>
          </a:p>
        </p:txBody>
      </p:sp>
      <p:sp>
        <p:nvSpPr>
          <p:cNvPr id="102" name="Rectangle 101"/>
          <p:cNvSpPr/>
          <p:nvPr/>
        </p:nvSpPr>
        <p:spPr bwMode="auto">
          <a:xfrm>
            <a:off x="477319" y="3265786"/>
            <a:ext cx="1187925" cy="122048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4272318" y="3265786"/>
            <a:ext cx="4386186" cy="1220485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Transforming the data into meaningful information, performing aggregations, calculation and implementation of business logic </a:t>
            </a:r>
            <a:endParaRPr lang="en-US" sz="1400" dirty="0">
              <a:solidFill>
                <a:schemeClr val="lt1">
                  <a:alpha val="99000"/>
                </a:schemeClr>
              </a:solidFill>
            </a:endParaRPr>
          </a:p>
        </p:txBody>
      </p:sp>
      <p:grpSp>
        <p:nvGrpSpPr>
          <p:cNvPr id="104" name="Group 103"/>
          <p:cNvGrpSpPr/>
          <p:nvPr/>
        </p:nvGrpSpPr>
        <p:grpSpPr>
          <a:xfrm>
            <a:off x="650470" y="3583660"/>
            <a:ext cx="836753" cy="625505"/>
            <a:chOff x="7781408" y="3356992"/>
            <a:chExt cx="836753" cy="625505"/>
          </a:xfrm>
        </p:grpSpPr>
        <p:sp>
          <p:nvSpPr>
            <p:cNvPr id="105" name="Rectangle 104"/>
            <p:cNvSpPr/>
            <p:nvPr/>
          </p:nvSpPr>
          <p:spPr bwMode="auto">
            <a:xfrm>
              <a:off x="7781408" y="3356992"/>
              <a:ext cx="547923" cy="2880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Rectangle 105"/>
            <p:cNvSpPr/>
            <p:nvPr/>
          </p:nvSpPr>
          <p:spPr bwMode="auto">
            <a:xfrm rot="1975400">
              <a:off x="7976669" y="3613266"/>
              <a:ext cx="547923" cy="2880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7" name="Bent Arrow 106"/>
            <p:cNvSpPr/>
            <p:nvPr/>
          </p:nvSpPr>
          <p:spPr bwMode="auto">
            <a:xfrm rot="16200000">
              <a:off x="7796511" y="3701501"/>
              <a:ext cx="273961" cy="288032"/>
            </a:xfrm>
            <a:prstGeom prst="ben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Bent Arrow 107"/>
            <p:cNvSpPr/>
            <p:nvPr/>
          </p:nvSpPr>
          <p:spPr bwMode="auto">
            <a:xfrm rot="10800000" flipV="1">
              <a:off x="8344200" y="3361359"/>
              <a:ext cx="273961" cy="288032"/>
            </a:xfrm>
            <a:prstGeom prst="ben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0" name="Rectangle 109"/>
          <p:cNvSpPr/>
          <p:nvPr/>
        </p:nvSpPr>
        <p:spPr bwMode="auto">
          <a:xfrm>
            <a:off x="1729691" y="4561930"/>
            <a:ext cx="2467230" cy="1194363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Load</a:t>
            </a:r>
          </a:p>
        </p:txBody>
      </p:sp>
      <p:sp>
        <p:nvSpPr>
          <p:cNvPr id="111" name="Rectangle 110"/>
          <p:cNvSpPr/>
          <p:nvPr/>
        </p:nvSpPr>
        <p:spPr bwMode="auto">
          <a:xfrm>
            <a:off x="477319" y="4561930"/>
            <a:ext cx="1187925" cy="1194363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4272318" y="4561930"/>
            <a:ext cx="4386186" cy="1194363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The insertion of information into the Datawarehouse and merging new and old data</a:t>
            </a:r>
            <a:endParaRPr lang="en-US" sz="1400" dirty="0">
              <a:solidFill>
                <a:schemeClr val="lt1">
                  <a:alpha val="99000"/>
                </a:schemeClr>
              </a:solidFill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775690" y="4702114"/>
            <a:ext cx="574552" cy="683303"/>
            <a:chOff x="6794723" y="4522593"/>
            <a:chExt cx="1094346" cy="1117607"/>
          </a:xfrm>
        </p:grpSpPr>
        <p:sp>
          <p:nvSpPr>
            <p:cNvPr id="115" name="Flowchart: Magnetic Disk 114"/>
            <p:cNvSpPr/>
            <p:nvPr/>
          </p:nvSpPr>
          <p:spPr>
            <a:xfrm>
              <a:off x="6794723" y="5163847"/>
              <a:ext cx="1094335" cy="476353"/>
            </a:xfrm>
            <a:prstGeom prst="flowChartMagneticDisk">
              <a:avLst/>
            </a:prstGeom>
            <a:solidFill>
              <a:schemeClr val="bg1"/>
            </a:solidFill>
            <a:ln>
              <a:solidFill>
                <a:srgbClr val="ED1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e-IL" dirty="0"/>
            </a:p>
          </p:txBody>
        </p:sp>
        <p:sp>
          <p:nvSpPr>
            <p:cNvPr id="116" name="Flowchart: Magnetic Disk 115"/>
            <p:cNvSpPr/>
            <p:nvPr/>
          </p:nvSpPr>
          <p:spPr>
            <a:xfrm>
              <a:off x="6794734" y="4843220"/>
              <a:ext cx="1094335" cy="476353"/>
            </a:xfrm>
            <a:prstGeom prst="flowChartMagneticDisk">
              <a:avLst/>
            </a:prstGeom>
            <a:solidFill>
              <a:schemeClr val="bg1"/>
            </a:solidFill>
            <a:ln>
              <a:solidFill>
                <a:srgbClr val="ED1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e-IL" dirty="0"/>
            </a:p>
          </p:txBody>
        </p:sp>
        <p:sp>
          <p:nvSpPr>
            <p:cNvPr id="117" name="Flowchart: Magnetic Disk 116"/>
            <p:cNvSpPr/>
            <p:nvPr/>
          </p:nvSpPr>
          <p:spPr>
            <a:xfrm>
              <a:off x="6794723" y="4522593"/>
              <a:ext cx="1094335" cy="476353"/>
            </a:xfrm>
            <a:prstGeom prst="flowChartMagneticDisk">
              <a:avLst/>
            </a:prstGeom>
            <a:solidFill>
              <a:schemeClr val="bg1"/>
            </a:solidFill>
            <a:ln>
              <a:solidFill>
                <a:srgbClr val="ED1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e-IL" dirty="0"/>
            </a:p>
          </p:txBody>
        </p:sp>
      </p:grpSp>
      <p:sp>
        <p:nvSpPr>
          <p:cNvPr id="114" name="Down Arrow 113"/>
          <p:cNvSpPr/>
          <p:nvPr/>
        </p:nvSpPr>
        <p:spPr bwMode="auto">
          <a:xfrm>
            <a:off x="862111" y="4847734"/>
            <a:ext cx="401704" cy="510506"/>
          </a:xfrm>
          <a:prstGeom prst="downArrow">
            <a:avLst/>
          </a:prstGeom>
          <a:solidFill>
            <a:schemeClr val="bg1"/>
          </a:solidFill>
          <a:ln w="19050" cap="flat" cmpd="sng" algn="ctr">
            <a:solidFill>
              <a:srgbClr val="ED1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e-IL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1326103" y="1235378"/>
            <a:ext cx="66064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lvl="0" indent="-225425">
              <a:spcBef>
                <a:spcPts val="1000"/>
              </a:spcBef>
              <a:buClr>
                <a:schemeClr val="accent1"/>
              </a:buClr>
              <a:defRPr/>
            </a:pPr>
            <a:r>
              <a:rPr lang="en-US" sz="2800" b="1" dirty="0">
                <a:solidFill>
                  <a:schemeClr val="accent1"/>
                </a:solidFill>
              </a:rPr>
              <a:t>ETL = Extract, Transform, Load</a:t>
            </a:r>
            <a:endParaRPr lang="he-IL" sz="2800" b="1" dirty="0">
              <a:solidFill>
                <a:schemeClr val="accent1"/>
              </a:solidFill>
            </a:endParaRPr>
          </a:p>
        </p:txBody>
      </p:sp>
      <p:sp>
        <p:nvSpPr>
          <p:cNvPr id="119" name="Title 1"/>
          <p:cNvSpPr>
            <a:spLocks noGrp="1"/>
          </p:cNvSpPr>
          <p:nvPr>
            <p:ph type="title"/>
          </p:nvPr>
        </p:nvSpPr>
        <p:spPr>
          <a:xfrm>
            <a:off x="457200" y="334171"/>
            <a:ext cx="8123238" cy="563562"/>
          </a:xfrm>
        </p:spPr>
        <p:txBody>
          <a:bodyPr/>
          <a:lstStyle/>
          <a:p>
            <a:r>
              <a:rPr lang="en-US" dirty="0" smtClean="0"/>
              <a:t>ET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88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98" grpId="0" animBg="1"/>
      <p:bldP spid="99" grpId="0" animBg="1"/>
      <p:bldP spid="101" grpId="0" animBg="1"/>
      <p:bldP spid="102" grpId="0" animBg="1"/>
      <p:bldP spid="103" grpId="0" animBg="1"/>
      <p:bldP spid="110" grpId="0" animBg="1"/>
      <p:bldP spid="111" grpId="0" animBg="1"/>
      <p:bldP spid="112" grpId="0" animBg="1"/>
      <p:bldP spid="114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/>
          <p:cNvSpPr/>
          <p:nvPr/>
        </p:nvSpPr>
        <p:spPr bwMode="auto">
          <a:xfrm>
            <a:off x="1731378" y="1969642"/>
            <a:ext cx="2467230" cy="1232631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Extract</a:t>
            </a:r>
          </a:p>
        </p:txBody>
      </p:sp>
      <p:sp>
        <p:nvSpPr>
          <p:cNvPr id="98" name="Rectangle 97"/>
          <p:cNvSpPr/>
          <p:nvPr/>
        </p:nvSpPr>
        <p:spPr bwMode="auto">
          <a:xfrm>
            <a:off x="477319" y="1969642"/>
            <a:ext cx="1187925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99" name="Rectangle 98"/>
          <p:cNvSpPr/>
          <p:nvPr/>
        </p:nvSpPr>
        <p:spPr bwMode="auto">
          <a:xfrm>
            <a:off x="4276906" y="1969642"/>
            <a:ext cx="4386186" cy="1232631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 defTabSz="91402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The process of extracting data from one or more sources and creation of a mirror for that data source </a:t>
            </a:r>
            <a:endParaRPr lang="he-IL" sz="1400" dirty="0" smtClean="0">
              <a:solidFill>
                <a:schemeClr val="lt1">
                  <a:alpha val="99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74564" y="2224864"/>
            <a:ext cx="755685" cy="744096"/>
            <a:chOff x="7721573" y="2057811"/>
            <a:chExt cx="755685" cy="744096"/>
          </a:xfrm>
        </p:grpSpPr>
        <p:pic>
          <p:nvPicPr>
            <p:cNvPr id="88" name="Picture 3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748665" y="2057811"/>
              <a:ext cx="206742" cy="221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9" name="Picture 2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7752323" y="2316474"/>
              <a:ext cx="190069" cy="2375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0" name="Picture 9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1404" y="2105521"/>
              <a:ext cx="295854" cy="5962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91" name="Group 90"/>
            <p:cNvGrpSpPr/>
            <p:nvPr/>
          </p:nvGrpSpPr>
          <p:grpSpPr>
            <a:xfrm>
              <a:off x="7721573" y="2601632"/>
              <a:ext cx="253245" cy="200275"/>
              <a:chOff x="954121" y="4125939"/>
              <a:chExt cx="420336" cy="327409"/>
            </a:xfrm>
          </p:grpSpPr>
          <p:sp>
            <p:nvSpPr>
              <p:cNvPr id="95" name="Oval 44"/>
              <p:cNvSpPr/>
              <p:nvPr/>
            </p:nvSpPr>
            <p:spPr bwMode="auto">
              <a:xfrm>
                <a:off x="954121" y="4125939"/>
                <a:ext cx="420336" cy="327409"/>
              </a:xfrm>
              <a:custGeom>
                <a:avLst/>
                <a:gdLst/>
                <a:ahLst/>
                <a:cxnLst/>
                <a:rect l="l" t="t" r="r" b="b"/>
                <a:pathLst>
                  <a:path w="1661351" h="1149303">
                    <a:moveTo>
                      <a:pt x="830675" y="290128"/>
                    </a:moveTo>
                    <a:lnTo>
                      <a:pt x="559387" y="491565"/>
                    </a:lnTo>
                    <a:lnTo>
                      <a:pt x="695031" y="491565"/>
                    </a:lnTo>
                    <a:lnTo>
                      <a:pt x="695031" y="880286"/>
                    </a:lnTo>
                    <a:lnTo>
                      <a:pt x="966319" y="880286"/>
                    </a:lnTo>
                    <a:lnTo>
                      <a:pt x="966319" y="491565"/>
                    </a:lnTo>
                    <a:lnTo>
                      <a:pt x="1101963" y="491565"/>
                    </a:lnTo>
                    <a:close/>
                    <a:moveTo>
                      <a:pt x="998696" y="0"/>
                    </a:moveTo>
                    <a:cubicBezTo>
                      <a:pt x="1214745" y="0"/>
                      <a:pt x="1389888" y="175143"/>
                      <a:pt x="1389888" y="391192"/>
                    </a:cubicBezTo>
                    <a:lnTo>
                      <a:pt x="1387108" y="425150"/>
                    </a:lnTo>
                    <a:cubicBezTo>
                      <a:pt x="1410399" y="415356"/>
                      <a:pt x="1435992" y="410031"/>
                      <a:pt x="1462829" y="410031"/>
                    </a:cubicBezTo>
                    <a:cubicBezTo>
                      <a:pt x="1572470" y="410031"/>
                      <a:pt x="1661351" y="498912"/>
                      <a:pt x="1661351" y="608553"/>
                    </a:cubicBezTo>
                    <a:cubicBezTo>
                      <a:pt x="1661351" y="718194"/>
                      <a:pt x="1572470" y="807075"/>
                      <a:pt x="1462829" y="807075"/>
                    </a:cubicBezTo>
                    <a:cubicBezTo>
                      <a:pt x="1441340" y="807075"/>
                      <a:pt x="1420648" y="803661"/>
                      <a:pt x="1401560" y="796443"/>
                    </a:cubicBezTo>
                    <a:cubicBezTo>
                      <a:pt x="1391444" y="871250"/>
                      <a:pt x="1326565" y="927638"/>
                      <a:pt x="1248515" y="927638"/>
                    </a:cubicBezTo>
                    <a:cubicBezTo>
                      <a:pt x="1213377" y="927638"/>
                      <a:pt x="1180909" y="916209"/>
                      <a:pt x="1156285" y="894609"/>
                    </a:cubicBezTo>
                    <a:lnTo>
                      <a:pt x="1146742" y="922922"/>
                    </a:lnTo>
                    <a:cubicBezTo>
                      <a:pt x="1116072" y="1052925"/>
                      <a:pt x="999092" y="1149303"/>
                      <a:pt x="859601" y="1149303"/>
                    </a:cubicBezTo>
                    <a:cubicBezTo>
                      <a:pt x="778140" y="1149303"/>
                      <a:pt x="704356" y="1116434"/>
                      <a:pt x="650856" y="1063166"/>
                    </a:cubicBezTo>
                    <a:cubicBezTo>
                      <a:pt x="629378" y="1069684"/>
                      <a:pt x="606548" y="1072474"/>
                      <a:pt x="583067" y="1072474"/>
                    </a:cubicBezTo>
                    <a:cubicBezTo>
                      <a:pt x="441635" y="1072474"/>
                      <a:pt x="323842" y="971260"/>
                      <a:pt x="298508" y="837249"/>
                    </a:cubicBezTo>
                    <a:cubicBezTo>
                      <a:pt x="271272" y="854603"/>
                      <a:pt x="238833" y="863114"/>
                      <a:pt x="204406" y="863114"/>
                    </a:cubicBezTo>
                    <a:cubicBezTo>
                      <a:pt x="91516" y="863114"/>
                      <a:pt x="0" y="771598"/>
                      <a:pt x="0" y="658708"/>
                    </a:cubicBezTo>
                    <a:cubicBezTo>
                      <a:pt x="0" y="545818"/>
                      <a:pt x="91516" y="454302"/>
                      <a:pt x="204406" y="454302"/>
                    </a:cubicBezTo>
                    <a:lnTo>
                      <a:pt x="233918" y="457277"/>
                    </a:lnTo>
                    <a:cubicBezTo>
                      <a:pt x="222386" y="429473"/>
                      <a:pt x="216312" y="398969"/>
                      <a:pt x="216312" y="367046"/>
                    </a:cubicBezTo>
                    <a:cubicBezTo>
                      <a:pt x="216312" y="231035"/>
                      <a:pt x="326570" y="120777"/>
                      <a:pt x="462581" y="120777"/>
                    </a:cubicBezTo>
                    <a:cubicBezTo>
                      <a:pt x="539633" y="120777"/>
                      <a:pt x="608421" y="156164"/>
                      <a:pt x="652706" y="212283"/>
                    </a:cubicBezTo>
                    <a:cubicBezTo>
                      <a:pt x="716234" y="85845"/>
                      <a:pt x="847440" y="0"/>
                      <a:pt x="99869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2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lt1">
                      <a:alpha val="99000"/>
                    </a:schemeClr>
                  </a:solidFill>
                </a:endParaRP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1053435" y="4199268"/>
                <a:ext cx="234461" cy="1807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e-IL" dirty="0"/>
              </a:p>
            </p:txBody>
          </p:sp>
        </p:grpSp>
        <p:sp>
          <p:nvSpPr>
            <p:cNvPr id="92" name="Right Arrow 91"/>
            <p:cNvSpPr/>
            <p:nvPr>
              <p:custDataLst>
                <p:tags r:id="rId3"/>
              </p:custDataLst>
            </p:nvPr>
          </p:nvSpPr>
          <p:spPr>
            <a:xfrm rot="1594423">
              <a:off x="7995477" y="2240551"/>
              <a:ext cx="182287" cy="73249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93" name="Right Arrow 92"/>
            <p:cNvSpPr/>
            <p:nvPr>
              <p:custDataLst>
                <p:tags r:id="rId4"/>
              </p:custDataLst>
            </p:nvPr>
          </p:nvSpPr>
          <p:spPr>
            <a:xfrm>
              <a:off x="7974818" y="2393070"/>
              <a:ext cx="182287" cy="73249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94" name="Right Arrow 93"/>
            <p:cNvSpPr/>
            <p:nvPr>
              <p:custDataLst>
                <p:tags r:id="rId5"/>
              </p:custDataLst>
            </p:nvPr>
          </p:nvSpPr>
          <p:spPr>
            <a:xfrm rot="20023780" flipV="1">
              <a:off x="7992828" y="2547537"/>
              <a:ext cx="182287" cy="73249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  <p:sp>
        <p:nvSpPr>
          <p:cNvPr id="101" name="Rectangle 100"/>
          <p:cNvSpPr/>
          <p:nvPr/>
        </p:nvSpPr>
        <p:spPr bwMode="auto">
          <a:xfrm>
            <a:off x="1728835" y="4541022"/>
            <a:ext cx="2467230" cy="1220485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Transform</a:t>
            </a:r>
          </a:p>
        </p:txBody>
      </p:sp>
      <p:sp>
        <p:nvSpPr>
          <p:cNvPr id="102" name="Rectangle 101"/>
          <p:cNvSpPr/>
          <p:nvPr/>
        </p:nvSpPr>
        <p:spPr bwMode="auto">
          <a:xfrm>
            <a:off x="477319" y="4541022"/>
            <a:ext cx="1187925" cy="122048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4272318" y="4541022"/>
            <a:ext cx="4386186" cy="1220485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Transforming the data into meaningful information, performing aggregations, calculation and implementation of business logic </a:t>
            </a:r>
            <a:endParaRPr lang="en-US" sz="1400" dirty="0">
              <a:solidFill>
                <a:schemeClr val="lt1">
                  <a:alpha val="99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50470" y="4858896"/>
            <a:ext cx="836753" cy="625505"/>
            <a:chOff x="650470" y="4858896"/>
            <a:chExt cx="836753" cy="625505"/>
          </a:xfrm>
        </p:grpSpPr>
        <p:sp>
          <p:nvSpPr>
            <p:cNvPr id="105" name="Rectangle 104"/>
            <p:cNvSpPr/>
            <p:nvPr/>
          </p:nvSpPr>
          <p:spPr bwMode="auto">
            <a:xfrm>
              <a:off x="650470" y="4858896"/>
              <a:ext cx="547923" cy="2880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Rectangle 105"/>
            <p:cNvSpPr/>
            <p:nvPr/>
          </p:nvSpPr>
          <p:spPr bwMode="auto">
            <a:xfrm rot="1975400">
              <a:off x="845731" y="5115170"/>
              <a:ext cx="547923" cy="2880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ED19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7" name="Bent Arrow 106"/>
            <p:cNvSpPr/>
            <p:nvPr/>
          </p:nvSpPr>
          <p:spPr bwMode="auto">
            <a:xfrm rot="16200000">
              <a:off x="665573" y="5203405"/>
              <a:ext cx="273961" cy="288032"/>
            </a:xfrm>
            <a:prstGeom prst="ben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Bent Arrow 107"/>
            <p:cNvSpPr/>
            <p:nvPr/>
          </p:nvSpPr>
          <p:spPr bwMode="auto">
            <a:xfrm rot="10800000" flipV="1">
              <a:off x="1213262" y="4863263"/>
              <a:ext cx="273961" cy="288032"/>
            </a:xfrm>
            <a:prstGeom prst="ben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0" name="Rectangle 109"/>
          <p:cNvSpPr/>
          <p:nvPr/>
        </p:nvSpPr>
        <p:spPr bwMode="auto">
          <a:xfrm>
            <a:off x="1737784" y="3271513"/>
            <a:ext cx="2467230" cy="1194363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Load</a:t>
            </a:r>
          </a:p>
        </p:txBody>
      </p:sp>
      <p:sp>
        <p:nvSpPr>
          <p:cNvPr id="111" name="Rectangle 110"/>
          <p:cNvSpPr/>
          <p:nvPr/>
        </p:nvSpPr>
        <p:spPr bwMode="auto">
          <a:xfrm>
            <a:off x="494556" y="3271513"/>
            <a:ext cx="1187925" cy="1194363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0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4280411" y="3271513"/>
            <a:ext cx="4386186" cy="1194363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marL="166688" indent="-166688" defTabSz="914023">
              <a:spcBef>
                <a:spcPts val="300"/>
              </a:spcBef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lt1">
                    <a:alpha val="99000"/>
                  </a:schemeClr>
                </a:solidFill>
              </a:rPr>
              <a:t>The insertion of information into the Datawarehouse and merging new and old data</a:t>
            </a:r>
            <a:endParaRPr lang="en-US" sz="1400" dirty="0">
              <a:solidFill>
                <a:schemeClr val="lt1">
                  <a:alpha val="99000"/>
                </a:schemeClr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756351" y="3411697"/>
            <a:ext cx="574552" cy="683303"/>
            <a:chOff x="756351" y="3411697"/>
            <a:chExt cx="574552" cy="683303"/>
          </a:xfrm>
        </p:grpSpPr>
        <p:grpSp>
          <p:nvGrpSpPr>
            <p:cNvPr id="113" name="Group 112"/>
            <p:cNvGrpSpPr/>
            <p:nvPr/>
          </p:nvGrpSpPr>
          <p:grpSpPr>
            <a:xfrm>
              <a:off x="756351" y="3411697"/>
              <a:ext cx="574552" cy="683303"/>
              <a:chOff x="6794723" y="4522593"/>
              <a:chExt cx="1094346" cy="1117607"/>
            </a:xfrm>
          </p:grpSpPr>
          <p:sp>
            <p:nvSpPr>
              <p:cNvPr id="115" name="Flowchart: Magnetic Disk 114"/>
              <p:cNvSpPr/>
              <p:nvPr/>
            </p:nvSpPr>
            <p:spPr>
              <a:xfrm>
                <a:off x="6794723" y="5163847"/>
                <a:ext cx="1094335" cy="476353"/>
              </a:xfrm>
              <a:prstGeom prst="flowChartMagneticDisk">
                <a:avLst/>
              </a:prstGeom>
              <a:solidFill>
                <a:schemeClr val="bg1"/>
              </a:solidFill>
              <a:ln>
                <a:solidFill>
                  <a:srgbClr val="ED193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e-IL" dirty="0"/>
              </a:p>
            </p:txBody>
          </p:sp>
          <p:sp>
            <p:nvSpPr>
              <p:cNvPr id="116" name="Flowchart: Magnetic Disk 115"/>
              <p:cNvSpPr/>
              <p:nvPr/>
            </p:nvSpPr>
            <p:spPr>
              <a:xfrm>
                <a:off x="6794734" y="4843220"/>
                <a:ext cx="1094335" cy="476353"/>
              </a:xfrm>
              <a:prstGeom prst="flowChartMagneticDisk">
                <a:avLst/>
              </a:prstGeom>
              <a:solidFill>
                <a:schemeClr val="bg1"/>
              </a:solidFill>
              <a:ln>
                <a:solidFill>
                  <a:srgbClr val="ED193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e-IL" dirty="0"/>
              </a:p>
            </p:txBody>
          </p:sp>
          <p:sp>
            <p:nvSpPr>
              <p:cNvPr id="117" name="Flowchart: Magnetic Disk 116"/>
              <p:cNvSpPr/>
              <p:nvPr/>
            </p:nvSpPr>
            <p:spPr>
              <a:xfrm>
                <a:off x="6794723" y="4522593"/>
                <a:ext cx="1094335" cy="476353"/>
              </a:xfrm>
              <a:prstGeom prst="flowChartMagneticDisk">
                <a:avLst/>
              </a:prstGeom>
              <a:solidFill>
                <a:schemeClr val="bg1"/>
              </a:solidFill>
              <a:ln>
                <a:solidFill>
                  <a:srgbClr val="ED193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e-IL" dirty="0"/>
              </a:p>
            </p:txBody>
          </p:sp>
        </p:grpSp>
        <p:sp>
          <p:nvSpPr>
            <p:cNvPr id="114" name="Down Arrow 113"/>
            <p:cNvSpPr/>
            <p:nvPr/>
          </p:nvSpPr>
          <p:spPr bwMode="auto">
            <a:xfrm>
              <a:off x="842772" y="3557317"/>
              <a:ext cx="401704" cy="510506"/>
            </a:xfrm>
            <a:prstGeom prst="downArrow">
              <a:avLst/>
            </a:prstGeom>
            <a:solidFill>
              <a:schemeClr val="bg1"/>
            </a:solidFill>
            <a:ln w="19050" cap="flat" cmpd="sng" algn="ctr">
              <a:solidFill>
                <a:srgbClr val="ED19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8" name="Rectangle 117"/>
          <p:cNvSpPr/>
          <p:nvPr/>
        </p:nvSpPr>
        <p:spPr>
          <a:xfrm>
            <a:off x="1326103" y="1235378"/>
            <a:ext cx="66064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lvl="0" indent="-225425">
              <a:spcBef>
                <a:spcPts val="1000"/>
              </a:spcBef>
              <a:buClr>
                <a:schemeClr val="accent1"/>
              </a:buClr>
              <a:defRPr/>
            </a:pPr>
            <a:r>
              <a:rPr lang="en-US" sz="2800" b="1" dirty="0">
                <a:solidFill>
                  <a:schemeClr val="accent1"/>
                </a:solidFill>
              </a:rPr>
              <a:t>ETL = Extract, </a:t>
            </a:r>
            <a:r>
              <a:rPr lang="en-US" sz="2800" b="1" dirty="0" smtClean="0">
                <a:solidFill>
                  <a:schemeClr val="accent1"/>
                </a:solidFill>
              </a:rPr>
              <a:t>Load, Transform</a:t>
            </a:r>
            <a:endParaRPr lang="he-IL" sz="2800" b="1" dirty="0">
              <a:solidFill>
                <a:schemeClr val="accent1"/>
              </a:solidFill>
            </a:endParaRPr>
          </a:p>
        </p:txBody>
      </p:sp>
      <p:sp>
        <p:nvSpPr>
          <p:cNvPr id="119" name="Title 1"/>
          <p:cNvSpPr>
            <a:spLocks noGrp="1"/>
          </p:cNvSpPr>
          <p:nvPr>
            <p:ph type="title"/>
          </p:nvPr>
        </p:nvSpPr>
        <p:spPr>
          <a:xfrm>
            <a:off x="457200" y="334171"/>
            <a:ext cx="8123238" cy="563562"/>
          </a:xfrm>
        </p:spPr>
        <p:txBody>
          <a:bodyPr/>
          <a:lstStyle/>
          <a:p>
            <a:r>
              <a:rPr lang="en-US" dirty="0" smtClean="0"/>
              <a:t>ET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960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data integ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56839" y="1450103"/>
            <a:ext cx="8111322" cy="4424271"/>
          </a:xfrm>
        </p:spPr>
        <p:txBody>
          <a:bodyPr/>
          <a:lstStyle/>
          <a:p>
            <a:pPr marL="285750" lvl="1" indent="0">
              <a:buNone/>
            </a:pPr>
            <a:endParaRPr lang="en-US" sz="2800" dirty="0">
              <a:solidFill>
                <a:schemeClr val="tx1"/>
              </a:solidFill>
            </a:endParaRPr>
          </a:p>
          <a:p>
            <a:pPr marL="285750" lvl="1" indent="0">
              <a:buNone/>
            </a:pPr>
            <a:r>
              <a:rPr lang="en-US" sz="2800" b="1" dirty="0">
                <a:solidFill>
                  <a:schemeClr val="accent1"/>
                </a:solidFill>
              </a:rPr>
              <a:t>How can data be loaded to a DWH</a:t>
            </a:r>
            <a:r>
              <a:rPr lang="en-US" sz="2800" b="1" dirty="0" smtClean="0">
                <a:solidFill>
                  <a:schemeClr val="accent1"/>
                </a:solidFill>
              </a:rPr>
              <a:t>?</a:t>
            </a:r>
          </a:p>
          <a:p>
            <a:pPr lvl="2"/>
            <a:r>
              <a:rPr lang="en-US" sz="2800" dirty="0"/>
              <a:t>Scripts (shell, </a:t>
            </a:r>
            <a:r>
              <a:rPr lang="en-US" sz="2800" dirty="0" err="1"/>
              <a:t>perl</a:t>
            </a:r>
            <a:r>
              <a:rPr lang="en-US" sz="2800" dirty="0"/>
              <a:t>, python etc.)</a:t>
            </a:r>
          </a:p>
          <a:p>
            <a:pPr lvl="2"/>
            <a:r>
              <a:rPr lang="en-US" sz="2800" dirty="0"/>
              <a:t>SQL Procedures</a:t>
            </a:r>
          </a:p>
          <a:p>
            <a:pPr lvl="2"/>
            <a:r>
              <a:rPr lang="en-US" sz="2800" dirty="0"/>
              <a:t>Hardcoded Java, C# etc.</a:t>
            </a:r>
          </a:p>
          <a:p>
            <a:pPr lvl="2"/>
            <a:r>
              <a:rPr lang="en-US" sz="2800" dirty="0"/>
              <a:t>In-House built ETL tool</a:t>
            </a:r>
          </a:p>
          <a:p>
            <a:pPr lvl="2"/>
            <a:r>
              <a:rPr lang="en-US" sz="2800" b="1" dirty="0"/>
              <a:t>Off-the shelf ETL tool</a:t>
            </a:r>
          </a:p>
        </p:txBody>
      </p:sp>
    </p:spTree>
    <p:extLst>
      <p:ext uri="{BB962C8B-B14F-4D97-AF65-F5344CB8AC3E}">
        <p14:creationId xmlns:p14="http://schemas.microsoft.com/office/powerpoint/2010/main" val="2205095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pose of ETL and Data Integ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95835" y="1375544"/>
            <a:ext cx="8111322" cy="4424271"/>
          </a:xfrm>
        </p:spPr>
        <p:txBody>
          <a:bodyPr/>
          <a:lstStyle/>
          <a:p>
            <a:r>
              <a:rPr lang="en-US" sz="2800" dirty="0" smtClean="0"/>
              <a:t>Add value to data</a:t>
            </a:r>
          </a:p>
          <a:p>
            <a:pPr marL="571500" lvl="1" indent="-285750"/>
            <a:r>
              <a:rPr lang="en-US" sz="2400" dirty="0" smtClean="0"/>
              <a:t>Remove mistakes and correct data</a:t>
            </a:r>
          </a:p>
          <a:p>
            <a:pPr marL="571500" lvl="1" indent="-285750"/>
            <a:r>
              <a:rPr lang="en-US" sz="2400" dirty="0" smtClean="0"/>
              <a:t>Integrate data from multiple sources to be used together</a:t>
            </a:r>
          </a:p>
          <a:p>
            <a:pPr marL="571500" lvl="1" indent="-285750"/>
            <a:r>
              <a:rPr lang="en-US" sz="2400" dirty="0" smtClean="0"/>
              <a:t>Structure data for BI &amp; Analytics tools</a:t>
            </a:r>
          </a:p>
          <a:p>
            <a:pPr marL="571500" lvl="1" indent="-285750"/>
            <a:r>
              <a:rPr lang="en-US" sz="2400" dirty="0" smtClean="0"/>
              <a:t>Enable subsequent analytical data processing</a:t>
            </a:r>
          </a:p>
          <a:p>
            <a:pPr marL="855663" lvl="2" indent="-285750"/>
            <a:r>
              <a:rPr lang="en-US" sz="2400" dirty="0" smtClean="0"/>
              <a:t>Data Mining</a:t>
            </a:r>
          </a:p>
          <a:p>
            <a:pPr marL="855663" lvl="2" indent="-285750"/>
            <a:r>
              <a:rPr lang="en-US" sz="2400" dirty="0" smtClean="0"/>
              <a:t>Forecast &amp; Trending etc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62351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build it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289840"/>
            <a:ext cx="8111322" cy="4424271"/>
          </a:xfrm>
        </p:spPr>
        <p:txBody>
          <a:bodyPr/>
          <a:lstStyle/>
          <a:p>
            <a:r>
              <a:rPr lang="en-US" dirty="0" smtClean="0"/>
              <a:t>Data integration Lifecycle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797012417"/>
              </p:ext>
            </p:extLst>
          </p:nvPr>
        </p:nvGraphicFramePr>
        <p:xfrm>
          <a:off x="1380565" y="1612152"/>
          <a:ext cx="6651812" cy="45824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93270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0AB652D-4924-4F35-8F52-7BDC900EBA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60AB652D-4924-4F35-8F52-7BDC900EBAD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827B176-2B3F-41AC-8177-C05C83FB150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B827B176-2B3F-41AC-8177-C05C83FB150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A85BFF7-D8DB-486C-A68D-5FD593F728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graphicEl>
                                              <a:dgm id="{1A85BFF7-D8DB-486C-A68D-5FD593F728E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E24A924-4F35-4207-9857-4A6E755AD1A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graphicEl>
                                              <a:dgm id="{2E24A924-4F35-4207-9857-4A6E755AD1A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23811AE-796B-44E2-9090-EEE3402665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graphicEl>
                                              <a:dgm id="{523811AE-796B-44E2-9090-EEE34026654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4D76BA9-C5BA-4A56-9A7F-081F2B973A2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graphicEl>
                                              <a:dgm id="{74D76BA9-C5BA-4A56-9A7F-081F2B973A2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6F19945-CF5A-40F5-935A-BC25313206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>
                                            <p:graphicEl>
                                              <a:dgm id="{86F19945-CF5A-40F5-935A-BC25313206D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A3AD813-B147-42EB-BECF-27E1352855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graphicEl>
                                              <a:dgm id="{BA3AD813-B147-42EB-BECF-27E13528555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tra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289840"/>
            <a:ext cx="8111322" cy="4424271"/>
          </a:xfrm>
        </p:spPr>
        <p:txBody>
          <a:bodyPr/>
          <a:lstStyle/>
          <a:p>
            <a:r>
              <a:rPr lang="en-US" sz="3200" dirty="0" smtClean="0"/>
              <a:t>Access &amp; Discover</a:t>
            </a:r>
          </a:p>
          <a:p>
            <a:pPr marL="855663" lvl="2" indent="-285750"/>
            <a:r>
              <a:rPr lang="en-US" sz="2400" dirty="0" smtClean="0"/>
              <a:t>Flat files DMBS, XML data, XLS (Excel)</a:t>
            </a:r>
          </a:p>
          <a:p>
            <a:pPr marL="855663" lvl="2" indent="-285750"/>
            <a:r>
              <a:rPr lang="en-US" sz="2400" dirty="0" smtClean="0"/>
              <a:t>Web Services, LDAP</a:t>
            </a:r>
          </a:p>
          <a:p>
            <a:pPr marL="855663" lvl="2" indent="-285750"/>
            <a:r>
              <a:rPr lang="en-US" sz="2400" dirty="0" smtClean="0"/>
              <a:t>Semi-structured data (emails, web logs. Wiki pages)</a:t>
            </a:r>
          </a:p>
          <a:p>
            <a:pPr marL="855663" lvl="2" indent="-285750"/>
            <a:r>
              <a:rPr lang="en-US" sz="2400" dirty="0" smtClean="0"/>
              <a:t>Unstructured data (blogs, documents, social networks)</a:t>
            </a:r>
          </a:p>
          <a:p>
            <a:pPr marL="855663" lvl="2" indent="-285750"/>
            <a:r>
              <a:rPr lang="en-US" sz="2400" dirty="0" smtClean="0"/>
              <a:t>Extensibility with custom connectors</a:t>
            </a:r>
          </a:p>
          <a:p>
            <a:pPr marL="855663" lvl="2" indent="-285750"/>
            <a:r>
              <a:rPr lang="en-US" sz="2400" dirty="0" smtClean="0"/>
              <a:t>Local data, remote data FTP, SFTP, SCP, http(s)</a:t>
            </a:r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131930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ean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716155" y="1089389"/>
            <a:ext cx="8111322" cy="4424271"/>
          </a:xfrm>
        </p:spPr>
        <p:txBody>
          <a:bodyPr/>
          <a:lstStyle/>
          <a:p>
            <a:r>
              <a:rPr lang="en-US" sz="3200" dirty="0"/>
              <a:t>Cleansing is knowledge-Driven</a:t>
            </a:r>
          </a:p>
          <a:p>
            <a:pPr marL="855663" lvl="2" indent="-285750"/>
            <a:endParaRPr lang="en-US" dirty="0"/>
          </a:p>
        </p:txBody>
      </p:sp>
      <p:sp>
        <p:nvSpPr>
          <p:cNvPr id="38" name="Rounded Rectangle 37"/>
          <p:cNvSpPr/>
          <p:nvPr/>
        </p:nvSpPr>
        <p:spPr>
          <a:xfrm>
            <a:off x="2423703" y="1707717"/>
            <a:ext cx="5445850" cy="2097202"/>
          </a:xfrm>
          <a:prstGeom prst="roundRect">
            <a:avLst/>
          </a:prstGeom>
          <a:solidFill>
            <a:srgbClr val="7D7D7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dirty="0"/>
          </a:p>
        </p:txBody>
      </p:sp>
      <p:sp>
        <p:nvSpPr>
          <p:cNvPr id="39" name="Rounded Rectangle 38"/>
          <p:cNvSpPr/>
          <p:nvPr/>
        </p:nvSpPr>
        <p:spPr>
          <a:xfrm>
            <a:off x="2423703" y="4140471"/>
            <a:ext cx="5445850" cy="2097202"/>
          </a:xfrm>
          <a:prstGeom prst="roundRect">
            <a:avLst/>
          </a:prstGeom>
          <a:solidFill>
            <a:srgbClr val="7D7D7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0" name="Rectangle 39"/>
          <p:cNvSpPr/>
          <p:nvPr/>
        </p:nvSpPr>
        <p:spPr>
          <a:xfrm>
            <a:off x="6517955" y="1707717"/>
            <a:ext cx="1364321" cy="6095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Knowledge </a:t>
            </a:r>
            <a:endParaRPr lang="en-US" sz="1400" dirty="0" smtClean="0">
              <a:solidFill>
                <a:schemeClr val="tx2">
                  <a:lumMod val="20000"/>
                  <a:lumOff val="80000"/>
                </a:schemeClr>
              </a:solidFill>
            </a:endParaRPr>
          </a:p>
          <a:p>
            <a:pPr algn="ctr"/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management</a:t>
            </a:r>
            <a:endParaRPr lang="he-IL" sz="14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347772" y="5566568"/>
            <a:ext cx="1501011" cy="6095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Data </a:t>
            </a:r>
          </a:p>
          <a:p>
            <a:pPr algn="ctr"/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Quality project</a:t>
            </a:r>
            <a:endParaRPr lang="he-IL" sz="14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3391965" y="2231003"/>
            <a:ext cx="3488747" cy="3357551"/>
            <a:chOff x="2771800" y="2348880"/>
            <a:chExt cx="3312368" cy="3094604"/>
          </a:xfrm>
        </p:grpSpPr>
        <p:sp>
          <p:nvSpPr>
            <p:cNvPr id="43" name="Oval 42"/>
            <p:cNvSpPr/>
            <p:nvPr/>
          </p:nvSpPr>
          <p:spPr>
            <a:xfrm>
              <a:off x="2771800" y="2348880"/>
              <a:ext cx="3312368" cy="309460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r>
                <a:rPr lang="en-US" sz="3600" dirty="0" smtClean="0">
                  <a:solidFill>
                    <a:schemeClr val="tx2">
                      <a:lumMod val="20000"/>
                      <a:lumOff val="80000"/>
                    </a:schemeClr>
                  </a:solidFill>
                </a:rPr>
                <a:t>KB</a:t>
              </a:r>
              <a:endParaRPr lang="he-IL" sz="3600" dirty="0">
                <a:solidFill>
                  <a:schemeClr val="tx2">
                    <a:lumMod val="20000"/>
                    <a:lumOff val="80000"/>
                  </a:schemeClr>
                </a:solidFill>
              </a:endParaRPr>
            </a:p>
          </p:txBody>
        </p:sp>
        <p:cxnSp>
          <p:nvCxnSpPr>
            <p:cNvPr id="44" name="Straight Connector 43"/>
            <p:cNvCxnSpPr>
              <a:stCxn id="43" idx="0"/>
            </p:cNvCxnSpPr>
            <p:nvPr/>
          </p:nvCxnSpPr>
          <p:spPr>
            <a:xfrm>
              <a:off x="4427984" y="2348880"/>
              <a:ext cx="0" cy="3094604"/>
            </a:xfrm>
            <a:prstGeom prst="line">
              <a:avLst/>
            </a:prstGeom>
            <a:ln w="50800">
              <a:solidFill>
                <a:srgbClr val="005C9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>
              <a:stCxn id="43" idx="2"/>
              <a:endCxn id="43" idx="6"/>
            </p:cNvCxnSpPr>
            <p:nvPr/>
          </p:nvCxnSpPr>
          <p:spPr>
            <a:xfrm>
              <a:off x="2771800" y="3896182"/>
              <a:ext cx="3312368" cy="0"/>
            </a:xfrm>
            <a:prstGeom prst="line">
              <a:avLst/>
            </a:prstGeom>
            <a:ln w="50800">
              <a:solidFill>
                <a:srgbClr val="005C9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Oval 45"/>
          <p:cNvSpPr/>
          <p:nvPr/>
        </p:nvSpPr>
        <p:spPr>
          <a:xfrm>
            <a:off x="4161599" y="2987010"/>
            <a:ext cx="1949477" cy="1845538"/>
          </a:xfrm>
          <a:prstGeom prst="ellipse">
            <a:avLst/>
          </a:prstGeom>
          <a:solidFill>
            <a:srgbClr val="005C9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sz="16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Knowledge base</a:t>
            </a:r>
            <a:endParaRPr lang="he-IL" sz="16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 rot="18795128">
            <a:off x="3477842" y="2824580"/>
            <a:ext cx="146392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rtl="1"/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Discover/Explore </a:t>
            </a:r>
          </a:p>
          <a:p>
            <a:pPr lvl="0" algn="ctr" rtl="1"/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Data</a:t>
            </a:r>
            <a:endParaRPr lang="he-IL" sz="14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 rot="2447019">
            <a:off x="5156666" y="2725400"/>
            <a:ext cx="168623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rtl="1"/>
            <a:r>
              <a:rPr lang="en-US" sz="14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Manage knowledge</a:t>
            </a:r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/</a:t>
            </a:r>
          </a:p>
          <a:p>
            <a:pPr lvl="0" algn="ctr" rtl="1"/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matching </a:t>
            </a:r>
            <a:r>
              <a:rPr lang="en-US" sz="14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policy</a:t>
            </a:r>
            <a:endParaRPr lang="he-IL" sz="14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 rot="18982425">
            <a:off x="5213505" y="4537580"/>
            <a:ext cx="164840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rtl="1"/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Correct/Standardize</a:t>
            </a:r>
          </a:p>
          <a:p>
            <a:pPr lvl="0" algn="ctr" rtl="1"/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(Cleanse</a:t>
            </a:r>
            <a:r>
              <a:rPr lang="en-US" sz="14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)</a:t>
            </a:r>
            <a:endParaRPr lang="he-IL" sz="14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 rot="2839161">
            <a:off x="3703909" y="4491095"/>
            <a:ext cx="91537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rtl="1"/>
            <a:r>
              <a:rPr lang="en-US" sz="14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Duplicate </a:t>
            </a:r>
            <a:endParaRPr lang="en-US" sz="1400" dirty="0" smtClean="0">
              <a:solidFill>
                <a:schemeClr val="tx2">
                  <a:lumMod val="20000"/>
                  <a:lumOff val="80000"/>
                </a:schemeClr>
              </a:solidFill>
            </a:endParaRPr>
          </a:p>
          <a:p>
            <a:pPr lvl="0" algn="ctr" rtl="1"/>
            <a:r>
              <a:rPr lang="en-US" sz="1400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(</a:t>
            </a:r>
            <a:r>
              <a:rPr lang="en-US" sz="14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Match)</a:t>
            </a:r>
            <a:endParaRPr lang="he-IL" sz="14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3192509" y="1959381"/>
            <a:ext cx="3878540" cy="3439412"/>
            <a:chOff x="2765977" y="2338148"/>
            <a:chExt cx="3282187" cy="2952329"/>
          </a:xfrm>
        </p:grpSpPr>
        <p:sp>
          <p:nvSpPr>
            <p:cNvPr id="52" name="Arc 51"/>
            <p:cNvSpPr/>
            <p:nvPr/>
          </p:nvSpPr>
          <p:spPr>
            <a:xfrm>
              <a:off x="3095836" y="2338148"/>
              <a:ext cx="2952328" cy="2806571"/>
            </a:xfrm>
            <a:prstGeom prst="arc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53" name="Arc 52"/>
            <p:cNvSpPr/>
            <p:nvPr/>
          </p:nvSpPr>
          <p:spPr>
            <a:xfrm rot="16357625">
              <a:off x="2693099" y="2411027"/>
              <a:ext cx="2952328" cy="2806571"/>
            </a:xfrm>
            <a:prstGeom prst="arc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54" name="Group 53"/>
          <p:cNvGrpSpPr/>
          <p:nvPr/>
        </p:nvGrpSpPr>
        <p:grpSpPr>
          <a:xfrm rot="10800000">
            <a:off x="3211084" y="2462707"/>
            <a:ext cx="3878540" cy="3439412"/>
            <a:chOff x="2765977" y="2338148"/>
            <a:chExt cx="3282187" cy="2952329"/>
          </a:xfrm>
        </p:grpSpPr>
        <p:sp>
          <p:nvSpPr>
            <p:cNvPr id="55" name="Arc 54"/>
            <p:cNvSpPr/>
            <p:nvPr/>
          </p:nvSpPr>
          <p:spPr>
            <a:xfrm>
              <a:off x="3095836" y="2338148"/>
              <a:ext cx="2952328" cy="2806571"/>
            </a:xfrm>
            <a:prstGeom prst="arc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56" name="Arc 55"/>
            <p:cNvSpPr/>
            <p:nvPr/>
          </p:nvSpPr>
          <p:spPr>
            <a:xfrm rot="16357625">
              <a:off x="2693099" y="2411027"/>
              <a:ext cx="2952328" cy="2806571"/>
            </a:xfrm>
            <a:prstGeom prst="arc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cxnSp>
        <p:nvCxnSpPr>
          <p:cNvPr id="57" name="Straight Arrow Connector 56"/>
          <p:cNvCxnSpPr>
            <a:stCxn id="46" idx="1"/>
          </p:cNvCxnSpPr>
          <p:nvPr/>
        </p:nvCxnSpPr>
        <p:spPr>
          <a:xfrm>
            <a:off x="4447094" y="3257283"/>
            <a:ext cx="283942" cy="295972"/>
          </a:xfrm>
          <a:prstGeom prst="straightConnector1">
            <a:avLst/>
          </a:prstGeom>
          <a:ln w="28575">
            <a:solidFill>
              <a:srgbClr val="F8931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46" idx="7"/>
          </p:cNvCxnSpPr>
          <p:nvPr/>
        </p:nvCxnSpPr>
        <p:spPr>
          <a:xfrm flipH="1">
            <a:off x="5496858" y="3257283"/>
            <a:ext cx="328722" cy="295972"/>
          </a:xfrm>
          <a:prstGeom prst="straightConnector1">
            <a:avLst/>
          </a:prstGeom>
          <a:ln w="28575">
            <a:solidFill>
              <a:srgbClr val="F8931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endCxn id="46" idx="3"/>
          </p:cNvCxnSpPr>
          <p:nvPr/>
        </p:nvCxnSpPr>
        <p:spPr>
          <a:xfrm flipH="1">
            <a:off x="4447094" y="4267317"/>
            <a:ext cx="283942" cy="294958"/>
          </a:xfrm>
          <a:prstGeom prst="straightConnector1">
            <a:avLst/>
          </a:prstGeom>
          <a:ln w="28575">
            <a:solidFill>
              <a:srgbClr val="EF392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endCxn id="46" idx="5"/>
          </p:cNvCxnSpPr>
          <p:nvPr/>
        </p:nvCxnSpPr>
        <p:spPr>
          <a:xfrm>
            <a:off x="5496858" y="4267317"/>
            <a:ext cx="328724" cy="294958"/>
          </a:xfrm>
          <a:prstGeom prst="straightConnector1">
            <a:avLst/>
          </a:prstGeom>
          <a:ln w="28575">
            <a:solidFill>
              <a:srgbClr val="EF392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Flowchart: Data 60"/>
          <p:cNvSpPr/>
          <p:nvPr/>
        </p:nvSpPr>
        <p:spPr>
          <a:xfrm>
            <a:off x="550164" y="2060340"/>
            <a:ext cx="1283440" cy="1392781"/>
          </a:xfrm>
          <a:prstGeom prst="flowChartInputOutp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sz="1200" dirty="0" smtClean="0"/>
              <a:t>Source data</a:t>
            </a:r>
            <a:endParaRPr lang="he-IL" sz="1200" dirty="0"/>
          </a:p>
        </p:txBody>
      </p:sp>
      <p:cxnSp>
        <p:nvCxnSpPr>
          <p:cNvPr id="62" name="Straight Arrow Connector 61"/>
          <p:cNvCxnSpPr>
            <a:stCxn id="61" idx="5"/>
            <a:endCxn id="38" idx="1"/>
          </p:cNvCxnSpPr>
          <p:nvPr/>
        </p:nvCxnSpPr>
        <p:spPr>
          <a:xfrm flipV="1">
            <a:off x="1705260" y="2756318"/>
            <a:ext cx="718443" cy="41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1761596" y="2445009"/>
            <a:ext cx="609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/>
              <a:t>Map</a:t>
            </a:r>
            <a:endParaRPr lang="he-IL" sz="1600" dirty="0"/>
          </a:p>
        </p:txBody>
      </p:sp>
      <p:sp>
        <p:nvSpPr>
          <p:cNvPr id="64" name="Rectangle 63"/>
          <p:cNvSpPr/>
          <p:nvPr/>
        </p:nvSpPr>
        <p:spPr>
          <a:xfrm>
            <a:off x="7853687" y="2549099"/>
            <a:ext cx="6960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/>
              <a:t>Build</a:t>
            </a:r>
            <a:endParaRPr lang="he-IL" sz="1600" dirty="0"/>
          </a:p>
        </p:txBody>
      </p:sp>
      <p:sp>
        <p:nvSpPr>
          <p:cNvPr id="65" name="Rectangle 64"/>
          <p:cNvSpPr/>
          <p:nvPr/>
        </p:nvSpPr>
        <p:spPr>
          <a:xfrm>
            <a:off x="7887477" y="4947106"/>
            <a:ext cx="5645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/>
              <a:t>Use</a:t>
            </a:r>
            <a:endParaRPr lang="he-IL" sz="1600" dirty="0"/>
          </a:p>
        </p:txBody>
      </p:sp>
      <p:cxnSp>
        <p:nvCxnSpPr>
          <p:cNvPr id="66" name="Straight Arrow Connector 65"/>
          <p:cNvCxnSpPr>
            <a:stCxn id="39" idx="1"/>
            <a:endCxn id="68" idx="3"/>
          </p:cNvCxnSpPr>
          <p:nvPr/>
        </p:nvCxnSpPr>
        <p:spPr>
          <a:xfrm flipH="1">
            <a:off x="1691469" y="5189072"/>
            <a:ext cx="732234" cy="975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1659245" y="4919002"/>
            <a:ext cx="8579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/>
              <a:t>Export</a:t>
            </a:r>
            <a:endParaRPr lang="he-IL" sz="1600" dirty="0"/>
          </a:p>
        </p:txBody>
      </p:sp>
      <p:sp>
        <p:nvSpPr>
          <p:cNvPr id="68" name="Flowchart: Stored Data 67"/>
          <p:cNvSpPr/>
          <p:nvPr/>
        </p:nvSpPr>
        <p:spPr>
          <a:xfrm>
            <a:off x="582092" y="4736481"/>
            <a:ext cx="1331252" cy="924686"/>
          </a:xfrm>
          <a:prstGeom prst="flowChartOnline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sz="1100" dirty="0" smtClean="0"/>
              <a:t>Processed Data</a:t>
            </a:r>
            <a:endParaRPr lang="he-IL" sz="1100" dirty="0"/>
          </a:p>
        </p:txBody>
      </p:sp>
    </p:spTree>
    <p:extLst>
      <p:ext uri="{BB962C8B-B14F-4D97-AF65-F5344CB8AC3E}">
        <p14:creationId xmlns:p14="http://schemas.microsoft.com/office/powerpoint/2010/main" val="3363814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grate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200926342"/>
              </p:ext>
            </p:extLst>
          </p:nvPr>
        </p:nvGraphicFramePr>
        <p:xfrm>
          <a:off x="-1054100" y="1624711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919538" y="1624711"/>
            <a:ext cx="4881562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lvl="1">
              <a:spcBef>
                <a:spcPts val="400"/>
              </a:spcBef>
              <a:buClr>
                <a:schemeClr val="accent1"/>
              </a:buClr>
            </a:pPr>
            <a:r>
              <a:rPr lang="en-US" sz="2400" b="1" dirty="0" smtClean="0">
                <a:solidFill>
                  <a:schemeClr val="accent1"/>
                </a:solidFill>
              </a:rPr>
              <a:t>Integrate &amp; Aggregate</a:t>
            </a:r>
            <a:endParaRPr lang="en-US" sz="2400" b="1" dirty="0">
              <a:solidFill>
                <a:schemeClr val="accent1"/>
              </a:solidFill>
            </a:endParaRPr>
          </a:p>
          <a:p>
            <a:pPr marL="398463" lvl="1" indent="-285750">
              <a:spcBef>
                <a:spcPts val="4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dirty="0">
                <a:solidFill>
                  <a:schemeClr val="bg2"/>
                </a:solidFill>
              </a:rPr>
              <a:t>The process of </a:t>
            </a:r>
            <a:r>
              <a:rPr lang="en-US" sz="2400" dirty="0" smtClean="0">
                <a:solidFill>
                  <a:schemeClr val="bg2"/>
                </a:solidFill>
              </a:rPr>
              <a:t>creating </a:t>
            </a:r>
            <a:r>
              <a:rPr lang="en-US" sz="2400" dirty="0">
                <a:solidFill>
                  <a:schemeClr val="bg2"/>
                </a:solidFill>
              </a:rPr>
              <a:t>unified view of data that is coming from various sources (</a:t>
            </a:r>
            <a:r>
              <a:rPr lang="en-US" sz="2400" dirty="0" smtClean="0">
                <a:solidFill>
                  <a:schemeClr val="bg2"/>
                </a:solidFill>
              </a:rPr>
              <a:t>CRM, Transactions etc.)</a:t>
            </a:r>
          </a:p>
          <a:p>
            <a:pPr marL="455613" lvl="1" indent="-342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2"/>
                </a:solidFill>
              </a:rPr>
              <a:t>Pre calculation data to achieve fast query time and minimal ad-hoc processing</a:t>
            </a:r>
            <a:endParaRPr lang="en-US" sz="2400" dirty="0">
              <a:solidFill>
                <a:schemeClr val="bg2"/>
              </a:solidFill>
            </a:endParaRPr>
          </a:p>
          <a:p>
            <a:endParaRPr lang="en-US" sz="3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30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A11FFB7-E459-4B95-97E9-F4E692477D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7A11FFB7-E459-4B95-97E9-F4E692477D0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66AB5EB-2F0F-4D0F-96E9-F8145F68AE0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graphicEl>
                                              <a:dgm id="{B66AB5EB-2F0F-4D0F-96E9-F8145F68AE0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B0F8AB1-C6EC-46FA-86B6-5A67043326C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graphicEl>
                                              <a:dgm id="{2B0F8AB1-C6EC-46FA-86B6-5A67043326C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2FCF63E-6030-4DD2-8D67-0E98DD8420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graphicEl>
                                              <a:dgm id="{92FCF63E-6030-4DD2-8D67-0E98DD84207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D811D37-6C78-481A-A488-BD2EC55174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graphicEl>
                                              <a:dgm id="{9D811D37-6C78-481A-A488-BD2EC55174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0921E2D-B7DB-4258-B5A5-C8EE7DA5B3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graphicEl>
                                              <a:dgm id="{D0921E2D-B7DB-4258-B5A5-C8EE7DA5B39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3CCB42A-FE9E-4747-BE46-830A9D72BF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>
                                            <p:graphicEl>
                                              <a:dgm id="{A3CCB42A-FE9E-4747-BE46-830A9D72BF6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" descr="http://agraphicworld2.files.wordpress.com/2010/10/standard_target_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80" y="1126723"/>
            <a:ext cx="2038669" cy="764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891494"/>
            <a:ext cx="8359254" cy="4105544"/>
          </a:xfrm>
        </p:spPr>
        <p:txBody>
          <a:bodyPr/>
          <a:lstStyle/>
          <a:p>
            <a:pPr marL="571500" lvl="1" indent="-285750"/>
            <a:r>
              <a:rPr lang="en-US" sz="2400" dirty="0">
                <a:solidFill>
                  <a:schemeClr val="tx1"/>
                </a:solidFill>
              </a:rPr>
              <a:t>1763 Stores</a:t>
            </a:r>
          </a:p>
          <a:p>
            <a:pPr marL="571500" lvl="1" indent="-285750"/>
            <a:r>
              <a:rPr lang="en-US" sz="2400" dirty="0" smtClean="0">
                <a:solidFill>
                  <a:schemeClr val="tx1"/>
                </a:solidFill>
              </a:rPr>
              <a:t>1.2 Billion records a day per store</a:t>
            </a:r>
          </a:p>
          <a:p>
            <a:pPr marL="855663" lvl="2" indent="-285750"/>
            <a:r>
              <a:rPr lang="en-US" sz="2400" dirty="0" smtClean="0">
                <a:solidFill>
                  <a:schemeClr val="tx1"/>
                </a:solidFill>
              </a:rPr>
              <a:t>2.115.600.000 Records daily!</a:t>
            </a:r>
          </a:p>
          <a:p>
            <a:pPr marL="571500" lvl="1" indent="-285750"/>
            <a:r>
              <a:rPr lang="en-US" sz="2400" dirty="0" smtClean="0">
                <a:solidFill>
                  <a:schemeClr val="tx1"/>
                </a:solidFill>
              </a:rPr>
              <a:t>Every customer is assigned with a Gusted ID and from then data is gathered for him</a:t>
            </a:r>
          </a:p>
          <a:p>
            <a:pPr marL="285750" lvl="1" indent="0">
              <a:buNone/>
            </a:pPr>
            <a:endParaRPr lang="en-US" sz="2400" dirty="0">
              <a:solidFill>
                <a:schemeClr val="tx1"/>
              </a:solidFill>
            </a:endParaRPr>
          </a:p>
          <a:p>
            <a:pPr marL="285750" lvl="1" indent="0">
              <a:buNone/>
            </a:pPr>
            <a:r>
              <a:rPr lang="en-US" sz="2800" b="1" dirty="0">
                <a:solidFill>
                  <a:schemeClr val="accent1"/>
                </a:solidFill>
              </a:rPr>
              <a:t>An Analyst </a:t>
            </a:r>
            <a:r>
              <a:rPr lang="en-US" sz="2800" b="1" dirty="0" smtClean="0">
                <a:solidFill>
                  <a:schemeClr val="accent1"/>
                </a:solidFill>
              </a:rPr>
              <a:t>used a data mining algorithm </a:t>
            </a:r>
            <a:r>
              <a:rPr lang="en-US" sz="2800" b="1" dirty="0">
                <a:solidFill>
                  <a:schemeClr val="accent1"/>
                </a:solidFill>
              </a:rPr>
              <a:t>to determine if a woman is pregnant and what trimester she is in!</a:t>
            </a:r>
          </a:p>
        </p:txBody>
      </p:sp>
    </p:spTree>
    <p:extLst>
      <p:ext uri="{BB962C8B-B14F-4D97-AF65-F5344CB8AC3E}">
        <p14:creationId xmlns:p14="http://schemas.microsoft.com/office/powerpoint/2010/main" val="3271269753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i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289840"/>
            <a:ext cx="8111322" cy="4424271"/>
          </a:xfrm>
        </p:spPr>
        <p:txBody>
          <a:bodyPr/>
          <a:lstStyle/>
          <a:p>
            <a:r>
              <a:rPr lang="en-US" sz="3200" dirty="0" smtClean="0"/>
              <a:t>Deliver, Audit</a:t>
            </a:r>
            <a:r>
              <a:rPr lang="en-US" sz="3200" dirty="0"/>
              <a:t>, </a:t>
            </a:r>
            <a:r>
              <a:rPr lang="en-US" sz="3200" dirty="0" smtClean="0"/>
              <a:t>Monitor &amp; Report</a:t>
            </a:r>
          </a:p>
          <a:p>
            <a:pPr marL="628650" lvl="1" indent="-342900"/>
            <a:r>
              <a:rPr lang="en-US" sz="2400" dirty="0" smtClean="0"/>
              <a:t>Load the data into the destination Datawarehouse</a:t>
            </a:r>
          </a:p>
          <a:p>
            <a:pPr marL="628650" lvl="1" indent="-342900"/>
            <a:r>
              <a:rPr lang="en-US" sz="2400" dirty="0" smtClean="0"/>
              <a:t>Provide full trace of the transformed data</a:t>
            </a:r>
          </a:p>
          <a:p>
            <a:pPr marL="628650" lvl="1" indent="-342900"/>
            <a:r>
              <a:rPr lang="en-US" sz="2400" dirty="0" smtClean="0"/>
              <a:t>Monitor the process and Report the successful to erroneous process that took place</a:t>
            </a:r>
          </a:p>
          <a:p>
            <a:pPr marL="628650" lvl="1" indent="-342900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06913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flow Example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29" y="1295400"/>
            <a:ext cx="7507287" cy="461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2678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teps for a Data </a:t>
            </a:r>
            <a:r>
              <a:rPr lang="en-US" dirty="0" err="1" smtClean="0"/>
              <a:t>warhouse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661633555"/>
              </p:ext>
            </p:extLst>
          </p:nvPr>
        </p:nvGraphicFramePr>
        <p:xfrm>
          <a:off x="919843" y="1224642"/>
          <a:ext cx="7342414" cy="4546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1653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1571432-935F-418F-8EB1-EA1A43050B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B61A90B-997E-4CEF-8930-D8FD01DF341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9C50F75-F718-44BF-A030-638EB38AB5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328" y="350838"/>
            <a:ext cx="8301110" cy="563562"/>
          </a:xfrm>
        </p:spPr>
        <p:txBody>
          <a:bodyPr/>
          <a:lstStyle/>
          <a:p>
            <a:r>
              <a:rPr lang="en-US" dirty="0"/>
              <a:t>Design </a:t>
            </a:r>
            <a:r>
              <a:rPr lang="en-US" dirty="0" smtClean="0"/>
              <a:t>– </a:t>
            </a:r>
            <a:r>
              <a:rPr lang="en-US" dirty="0"/>
              <a:t>D</a:t>
            </a:r>
            <a:r>
              <a:rPr lang="en-US" dirty="0" smtClean="0"/>
              <a:t>ata stru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79328" y="1246909"/>
            <a:ext cx="8478982" cy="4653147"/>
          </a:xfrm>
        </p:spPr>
        <p:txBody>
          <a:bodyPr/>
          <a:lstStyle/>
          <a:p>
            <a:endParaRPr lang="en-US" sz="2800" dirty="0" smtClean="0"/>
          </a:p>
          <a:p>
            <a:r>
              <a:rPr lang="en-US" sz="2800" dirty="0" smtClean="0"/>
              <a:t>Key Objectives</a:t>
            </a:r>
            <a:endParaRPr lang="en-US" sz="2800" dirty="0"/>
          </a:p>
          <a:p>
            <a:pPr marL="342900" indent="-342900"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Modeling </a:t>
            </a:r>
            <a:r>
              <a:rPr lang="en-US" sz="2400" b="0" dirty="0">
                <a:solidFill>
                  <a:schemeClr val="bg2"/>
                </a:solidFill>
              </a:rPr>
              <a:t>technique that simplifies joins and tabl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Organizes </a:t>
            </a:r>
            <a:r>
              <a:rPr lang="en-US" sz="2400" b="0" dirty="0">
                <a:solidFill>
                  <a:schemeClr val="bg2"/>
                </a:solidFill>
              </a:rPr>
              <a:t>data into a format that is easy for business users to understand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Allows </a:t>
            </a:r>
            <a:r>
              <a:rPr lang="en-US" sz="2400" b="0" dirty="0">
                <a:solidFill>
                  <a:schemeClr val="bg2"/>
                </a:solidFill>
              </a:rPr>
              <a:t>application developers to standardize ad-hoc </a:t>
            </a:r>
            <a:r>
              <a:rPr lang="en-US" sz="2400" b="0" dirty="0" smtClean="0">
                <a:solidFill>
                  <a:schemeClr val="bg2"/>
                </a:solidFill>
              </a:rPr>
              <a:t>queries</a:t>
            </a:r>
            <a:endParaRPr lang="en-US" sz="24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819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ing a Start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184840"/>
            <a:ext cx="8111322" cy="4855742"/>
          </a:xfrm>
        </p:spPr>
        <p:txBody>
          <a:bodyPr/>
          <a:lstStyle/>
          <a:p>
            <a:r>
              <a:rPr lang="en-US" sz="2800" dirty="0"/>
              <a:t>Dimension Tab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Easy </a:t>
            </a:r>
            <a:r>
              <a:rPr lang="en-US" sz="2400" b="0" dirty="0">
                <a:solidFill>
                  <a:schemeClr val="bg2"/>
                </a:solidFill>
              </a:rPr>
              <a:t>to understand groupings of subject </a:t>
            </a:r>
            <a:r>
              <a:rPr lang="en-US" sz="2400" b="0" dirty="0" smtClean="0">
                <a:solidFill>
                  <a:schemeClr val="bg2"/>
                </a:solidFill>
              </a:rPr>
              <a:t>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Can </a:t>
            </a:r>
            <a:r>
              <a:rPr lang="en-US" sz="2400" b="0" dirty="0">
                <a:solidFill>
                  <a:schemeClr val="bg2"/>
                </a:solidFill>
              </a:rPr>
              <a:t>be hierarchal used to drill </a:t>
            </a:r>
            <a:r>
              <a:rPr lang="en-US" sz="2400" b="0" dirty="0" smtClean="0">
                <a:solidFill>
                  <a:schemeClr val="bg2"/>
                </a:solidFill>
              </a:rPr>
              <a:t>dow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DE normalized, </a:t>
            </a:r>
            <a:r>
              <a:rPr lang="en-US" sz="2400" b="0" dirty="0">
                <a:solidFill>
                  <a:schemeClr val="bg2"/>
                </a:solidFill>
              </a:rPr>
              <a:t>decoded, and cleaned set </a:t>
            </a:r>
            <a:r>
              <a:rPr lang="en-US" sz="2400" b="0" dirty="0" smtClean="0">
                <a:solidFill>
                  <a:schemeClr val="bg2"/>
                </a:solidFill>
              </a:rPr>
              <a:t>of descriptive </a:t>
            </a:r>
            <a:r>
              <a:rPr lang="en-US" sz="2400" b="0" dirty="0">
                <a:solidFill>
                  <a:schemeClr val="bg2"/>
                </a:solidFill>
              </a:rPr>
              <a:t>data elements</a:t>
            </a:r>
          </a:p>
          <a:p>
            <a:r>
              <a:rPr lang="en-US" sz="2800" dirty="0"/>
              <a:t>Fact </a:t>
            </a:r>
            <a:r>
              <a:rPr lang="en-US" sz="2800" dirty="0" smtClean="0"/>
              <a:t>Tab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Contains </a:t>
            </a:r>
            <a:r>
              <a:rPr lang="en-US" sz="2400" b="0" dirty="0">
                <a:solidFill>
                  <a:schemeClr val="bg2"/>
                </a:solidFill>
              </a:rPr>
              <a:t>foreign keys referencing </a:t>
            </a:r>
            <a:r>
              <a:rPr lang="en-US" sz="2400" b="0" dirty="0" smtClean="0">
                <a:solidFill>
                  <a:schemeClr val="bg2"/>
                </a:solidFill>
              </a:rPr>
              <a:t>dimension Recor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Contain </a:t>
            </a:r>
            <a:r>
              <a:rPr lang="en-US" sz="2400" b="0" dirty="0">
                <a:solidFill>
                  <a:schemeClr val="bg2"/>
                </a:solidFill>
              </a:rPr>
              <a:t>either additive or </a:t>
            </a:r>
            <a:r>
              <a:rPr lang="en-US" sz="2400" b="0" dirty="0" smtClean="0">
                <a:solidFill>
                  <a:schemeClr val="bg2"/>
                </a:solidFill>
              </a:rPr>
              <a:t>semi-additive measures </a:t>
            </a:r>
            <a:r>
              <a:rPr lang="en-US" sz="2400" b="0" dirty="0">
                <a:solidFill>
                  <a:schemeClr val="bg2"/>
                </a:solidFill>
              </a:rPr>
              <a:t>for analysis</a:t>
            </a:r>
          </a:p>
        </p:txBody>
      </p:sp>
    </p:spTree>
    <p:extLst>
      <p:ext uri="{BB962C8B-B14F-4D97-AF65-F5344CB8AC3E}">
        <p14:creationId xmlns:p14="http://schemas.microsoft.com/office/powerpoint/2010/main" val="1636848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4814352" y="1103389"/>
            <a:ext cx="2560320" cy="5116514"/>
            <a:chOff x="6188144" y="980728"/>
            <a:chExt cx="2560320" cy="5116514"/>
          </a:xfrm>
        </p:grpSpPr>
        <p:sp>
          <p:nvSpPr>
            <p:cNvPr id="6" name="Rectangle 5"/>
            <p:cNvSpPr/>
            <p:nvPr>
              <p:custDataLst>
                <p:tags r:id="rId3"/>
              </p:custDataLst>
            </p:nvPr>
          </p:nvSpPr>
          <p:spPr bwMode="auto">
            <a:xfrm>
              <a:off x="6188144" y="3079722"/>
              <a:ext cx="2560320" cy="3017520"/>
            </a:xfrm>
            <a:prstGeom prst="rect">
              <a:avLst/>
            </a:prstGeom>
            <a:solidFill>
              <a:srgbClr val="7D7D7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indent="-2857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It is possible to create different hierarchies and navigate in them</a:t>
              </a:r>
            </a:p>
            <a:p>
              <a:pPr marL="285750" indent="-2857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Example: Country, Region, District, City)</a:t>
              </a:r>
              <a:endParaRPr lang="he-IL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endParaRPr>
            </a:p>
            <a:p>
              <a:pPr marL="285750" indent="-2857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4"/>
              </p:custDataLst>
            </p:nvPr>
          </p:nvSpPr>
          <p:spPr bwMode="auto">
            <a:xfrm>
              <a:off x="6188144" y="980728"/>
              <a:ext cx="2560320" cy="2098993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lvl="1" algn="ctr" defTabSz="914023"/>
              <a:r>
                <a:rPr lang="en-US" sz="1400" dirty="0" smtClean="0">
                  <a:solidFill>
                    <a:schemeClr val="bg1">
                      <a:alpha val="99000"/>
                    </a:schemeClr>
                  </a:solidFill>
                </a:rPr>
                <a:t>Allow navigation through natural hierarchies</a:t>
              </a:r>
              <a:endParaRPr lang="en-US" sz="14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6876256" y="1772816"/>
              <a:ext cx="1175967" cy="1069502"/>
              <a:chOff x="7020272" y="1844824"/>
              <a:chExt cx="1175967" cy="1069502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020272" y="1844824"/>
                <a:ext cx="880098" cy="637454"/>
              </a:xfrm>
              <a:prstGeom prst="rect">
                <a:avLst/>
              </a:prstGeom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316141" y="2276872"/>
                <a:ext cx="880098" cy="637454"/>
              </a:xfrm>
              <a:prstGeom prst="rect">
                <a:avLst/>
              </a:prstGeom>
            </p:spPr>
          </p:pic>
        </p:grpSp>
      </p:grpSp>
      <p:grpSp>
        <p:nvGrpSpPr>
          <p:cNvPr id="11" name="Group 10"/>
          <p:cNvGrpSpPr/>
          <p:nvPr/>
        </p:nvGrpSpPr>
        <p:grpSpPr>
          <a:xfrm>
            <a:off x="1979712" y="1103389"/>
            <a:ext cx="2560320" cy="5116514"/>
            <a:chOff x="3353504" y="980728"/>
            <a:chExt cx="2560320" cy="5116514"/>
          </a:xfrm>
        </p:grpSpPr>
        <p:sp>
          <p:nvSpPr>
            <p:cNvPr id="12" name="Rectangle 11"/>
            <p:cNvSpPr/>
            <p:nvPr>
              <p:custDataLst>
                <p:tags r:id="rId1"/>
              </p:custDataLst>
            </p:nvPr>
          </p:nvSpPr>
          <p:spPr bwMode="auto">
            <a:xfrm>
              <a:off x="3353504" y="3079722"/>
              <a:ext cx="2560320" cy="3017520"/>
            </a:xfrm>
            <a:prstGeom prst="rect">
              <a:avLst/>
            </a:prstGeom>
            <a:solidFill>
              <a:srgbClr val="7D7D7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Measures and subjects that are not usually connected can be linked via shared dimensions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endParaRPr>
            </a:p>
          </p:txBody>
        </p:sp>
        <p:sp>
          <p:nvSpPr>
            <p:cNvPr id="13" name="Rectangle 12"/>
            <p:cNvSpPr/>
            <p:nvPr>
              <p:custDataLst>
                <p:tags r:id="rId2"/>
              </p:custDataLst>
            </p:nvPr>
          </p:nvSpPr>
          <p:spPr bwMode="auto">
            <a:xfrm>
              <a:off x="3353504" y="980728"/>
              <a:ext cx="2560320" cy="20989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lvl="1" algn="ctr" defTabSz="914023"/>
              <a:r>
                <a:rPr lang="en-US" sz="1400" dirty="0" smtClean="0">
                  <a:solidFill>
                    <a:schemeClr val="bg1">
                      <a:alpha val="99000"/>
                    </a:schemeClr>
                  </a:solidFill>
                </a:rPr>
                <a:t>Allow indirect connection of dimension</a:t>
              </a:r>
              <a:endParaRPr lang="en-US" sz="14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3767296" y="1700808"/>
              <a:ext cx="1516947" cy="1213518"/>
              <a:chOff x="3430329" y="1628800"/>
              <a:chExt cx="2149783" cy="1406938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417640" y="1628800"/>
                <a:ext cx="1162472" cy="1208154"/>
                <a:chOff x="7572720" y="2959689"/>
                <a:chExt cx="889446" cy="1040691"/>
              </a:xfrm>
            </p:grpSpPr>
            <p:sp>
              <p:nvSpPr>
                <p:cNvPr id="25" name="Rectangle 24"/>
                <p:cNvSpPr/>
                <p:nvPr/>
              </p:nvSpPr>
              <p:spPr bwMode="auto">
                <a:xfrm>
                  <a:off x="7948461" y="3329902"/>
                  <a:ext cx="216024" cy="288032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he-IL" sz="1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6" name="Rectangle 25"/>
                <p:cNvSpPr/>
                <p:nvPr/>
              </p:nvSpPr>
              <p:spPr bwMode="auto">
                <a:xfrm>
                  <a:off x="7702604" y="2959689"/>
                  <a:ext cx="202250" cy="181279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he-IL" sz="1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7" name="Rectangle 26"/>
                <p:cNvSpPr/>
                <p:nvPr/>
              </p:nvSpPr>
              <p:spPr bwMode="auto">
                <a:xfrm>
                  <a:off x="8235331" y="3068441"/>
                  <a:ext cx="202250" cy="181279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he-IL" sz="1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8" name="Rectangle 27"/>
                <p:cNvSpPr/>
                <p:nvPr/>
              </p:nvSpPr>
              <p:spPr bwMode="auto">
                <a:xfrm>
                  <a:off x="8259916" y="3727582"/>
                  <a:ext cx="202250" cy="181279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he-IL" sz="1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9" name="Rectangle 28"/>
                <p:cNvSpPr/>
                <p:nvPr/>
              </p:nvSpPr>
              <p:spPr bwMode="auto">
                <a:xfrm>
                  <a:off x="7572720" y="3383278"/>
                  <a:ext cx="202250" cy="181279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he-IL" sz="1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0" name="Rectangle 29"/>
                <p:cNvSpPr/>
                <p:nvPr/>
              </p:nvSpPr>
              <p:spPr bwMode="auto">
                <a:xfrm>
                  <a:off x="7952501" y="3819101"/>
                  <a:ext cx="202250" cy="181279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he-IL" sz="1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cxnSp>
              <p:nvCxnSpPr>
                <p:cNvPr id="31" name="Elbow Connector 30"/>
                <p:cNvCxnSpPr>
                  <a:stCxn id="25" idx="3"/>
                  <a:endCxn id="27" idx="2"/>
                </p:cNvCxnSpPr>
                <p:nvPr/>
              </p:nvCxnSpPr>
              <p:spPr bwMode="auto">
                <a:xfrm flipV="1">
                  <a:off x="8164485" y="3249720"/>
                  <a:ext cx="171971" cy="224198"/>
                </a:xfrm>
                <a:prstGeom prst="bentConnector2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" name="Elbow Connector 31"/>
                <p:cNvCxnSpPr>
                  <a:stCxn id="25" idx="0"/>
                  <a:endCxn id="26" idx="2"/>
                </p:cNvCxnSpPr>
                <p:nvPr/>
              </p:nvCxnSpPr>
              <p:spPr bwMode="auto">
                <a:xfrm rot="16200000" flipV="1">
                  <a:off x="7835634" y="3109063"/>
                  <a:ext cx="188934" cy="252744"/>
                </a:xfrm>
                <a:prstGeom prst="bentConnector3">
                  <a:avLst>
                    <a:gd name="adj1" fmla="val 50000"/>
                  </a:avLst>
                </a:prstGeom>
                <a:solidFill>
                  <a:schemeClr val="bg1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3" name="Straight Connector 32"/>
                <p:cNvCxnSpPr>
                  <a:stCxn id="25" idx="1"/>
                  <a:endCxn id="29" idx="3"/>
                </p:cNvCxnSpPr>
                <p:nvPr/>
              </p:nvCxnSpPr>
              <p:spPr bwMode="auto">
                <a:xfrm flipH="1">
                  <a:off x="7774970" y="3473918"/>
                  <a:ext cx="173491" cy="0"/>
                </a:xfrm>
                <a:prstGeom prst="lin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4" name="Straight Connector 33"/>
                <p:cNvCxnSpPr>
                  <a:stCxn id="25" idx="2"/>
                  <a:endCxn id="30" idx="0"/>
                </p:cNvCxnSpPr>
                <p:nvPr/>
              </p:nvCxnSpPr>
              <p:spPr bwMode="auto">
                <a:xfrm flipH="1">
                  <a:off x="8053626" y="3617934"/>
                  <a:ext cx="2847" cy="201167"/>
                </a:xfrm>
                <a:prstGeom prst="lin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5" name="Elbow Connector 34"/>
                <p:cNvCxnSpPr/>
                <p:nvPr/>
              </p:nvCxnSpPr>
              <p:spPr bwMode="auto">
                <a:xfrm>
                  <a:off x="8164485" y="3556215"/>
                  <a:ext cx="95431" cy="278570"/>
                </a:xfrm>
                <a:prstGeom prst="bentConnector3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16" name="Rectangle 15"/>
              <p:cNvSpPr/>
              <p:nvPr/>
            </p:nvSpPr>
            <p:spPr bwMode="auto">
              <a:xfrm>
                <a:off x="3848933" y="2520259"/>
                <a:ext cx="282335" cy="334381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7" name="Elbow Connector 16"/>
              <p:cNvCxnSpPr>
                <a:stCxn id="16" idx="3"/>
                <a:endCxn id="29" idx="1"/>
              </p:cNvCxnSpPr>
              <p:nvPr/>
            </p:nvCxnSpPr>
            <p:spPr bwMode="auto">
              <a:xfrm flipV="1">
                <a:off x="4131268" y="2225776"/>
                <a:ext cx="286372" cy="461674"/>
              </a:xfrm>
              <a:prstGeom prst="bentConnector3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8" name="Rectangle 17"/>
              <p:cNvSpPr/>
              <p:nvPr/>
            </p:nvSpPr>
            <p:spPr bwMode="auto">
              <a:xfrm>
                <a:off x="3850307" y="2110866"/>
                <a:ext cx="264333" cy="21045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9" name="Straight Connector 18"/>
              <p:cNvCxnSpPr/>
              <p:nvPr/>
            </p:nvCxnSpPr>
            <p:spPr bwMode="auto">
              <a:xfrm flipV="1">
                <a:off x="3982474" y="2321317"/>
                <a:ext cx="3126" cy="205076"/>
              </a:xfrm>
              <a:prstGeom prst="lin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0" name="Rectangle 19"/>
              <p:cNvSpPr/>
              <p:nvPr/>
            </p:nvSpPr>
            <p:spPr bwMode="auto">
              <a:xfrm>
                <a:off x="3430329" y="2337796"/>
                <a:ext cx="264333" cy="21045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21" name="Elbow Connector 20"/>
              <p:cNvCxnSpPr>
                <a:stCxn id="16" idx="1"/>
                <a:endCxn id="20" idx="2"/>
              </p:cNvCxnSpPr>
              <p:nvPr/>
            </p:nvCxnSpPr>
            <p:spPr bwMode="auto">
              <a:xfrm rot="10800000">
                <a:off x="3562497" y="2548246"/>
                <a:ext cx="286437" cy="139204"/>
              </a:xfrm>
              <a:prstGeom prst="bentConnector2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2" name="Rectangle 21"/>
              <p:cNvSpPr/>
              <p:nvPr/>
            </p:nvSpPr>
            <p:spPr bwMode="auto">
              <a:xfrm>
                <a:off x="3451448" y="2825288"/>
                <a:ext cx="264333" cy="21045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23" name="Elbow Connector 22"/>
              <p:cNvCxnSpPr>
                <a:stCxn id="16" idx="2"/>
                <a:endCxn id="22" idx="3"/>
              </p:cNvCxnSpPr>
              <p:nvPr/>
            </p:nvCxnSpPr>
            <p:spPr bwMode="auto">
              <a:xfrm rot="5400000">
                <a:off x="3815005" y="2755416"/>
                <a:ext cx="75873" cy="274320"/>
              </a:xfrm>
              <a:prstGeom prst="bentConnector2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4" name="Rectangle 23"/>
              <p:cNvSpPr/>
              <p:nvPr/>
            </p:nvSpPr>
            <p:spPr bwMode="auto">
              <a:xfrm>
                <a:off x="4386104" y="2071526"/>
                <a:ext cx="327405" cy="321441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123238" cy="563562"/>
          </a:xfrm>
        </p:spPr>
        <p:txBody>
          <a:bodyPr/>
          <a:lstStyle/>
          <a:p>
            <a:r>
              <a:rPr lang="en-US" dirty="0"/>
              <a:t>Design </a:t>
            </a:r>
            <a:r>
              <a:rPr lang="en-US" dirty="0" smtClean="0"/>
              <a:t>- Shared Infrastru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085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- Shared Infrastructur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682968" y="1024384"/>
            <a:ext cx="6120680" cy="5310237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282E8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e-IL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281947060"/>
              </p:ext>
            </p:extLst>
          </p:nvPr>
        </p:nvGraphicFramePr>
        <p:xfrm>
          <a:off x="659304" y="1970353"/>
          <a:ext cx="3984104" cy="2824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4051714543"/>
              </p:ext>
            </p:extLst>
          </p:nvPr>
        </p:nvGraphicFramePr>
        <p:xfrm>
          <a:off x="2675528" y="1944713"/>
          <a:ext cx="3984104" cy="2824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1936633446"/>
              </p:ext>
            </p:extLst>
          </p:nvPr>
        </p:nvGraphicFramePr>
        <p:xfrm>
          <a:off x="1679248" y="2952825"/>
          <a:ext cx="3984104" cy="2824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7" name="Rounded Rectangle 16"/>
          <p:cNvSpPr/>
          <p:nvPr/>
        </p:nvSpPr>
        <p:spPr bwMode="auto">
          <a:xfrm>
            <a:off x="3203248" y="2952825"/>
            <a:ext cx="936104" cy="792088"/>
          </a:xfrm>
          <a:prstGeom prst="roundRect">
            <a:avLst/>
          </a:prstGeom>
          <a:solidFill>
            <a:srgbClr val="25A5DF">
              <a:alpha val="37000"/>
            </a:srgbClr>
          </a:solidFill>
          <a:ln>
            <a:solidFill>
              <a:srgbClr val="25A5DF"/>
            </a:solidFill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e-IL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2195136" y="3960937"/>
            <a:ext cx="936104" cy="792088"/>
          </a:xfrm>
          <a:prstGeom prst="roundRect">
            <a:avLst/>
          </a:prstGeom>
          <a:solidFill>
            <a:srgbClr val="25A5DF">
              <a:alpha val="37000"/>
            </a:srgbClr>
          </a:solidFill>
          <a:ln>
            <a:solidFill>
              <a:srgbClr val="25A5DF"/>
            </a:solidFill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e-IL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4211360" y="3960937"/>
            <a:ext cx="936104" cy="792088"/>
          </a:xfrm>
          <a:prstGeom prst="roundRect">
            <a:avLst/>
          </a:prstGeom>
          <a:solidFill>
            <a:srgbClr val="25A5DF">
              <a:alpha val="37000"/>
            </a:srgbClr>
          </a:solidFill>
          <a:ln>
            <a:solidFill>
              <a:srgbClr val="25A5DF"/>
            </a:solidFill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e-IL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Line Callout 1 19"/>
          <p:cNvSpPr/>
          <p:nvPr/>
        </p:nvSpPr>
        <p:spPr bwMode="auto">
          <a:xfrm>
            <a:off x="5723527" y="2016721"/>
            <a:ext cx="1404207" cy="720080"/>
          </a:xfrm>
          <a:prstGeom prst="borderCallout1">
            <a:avLst>
              <a:gd name="adj1" fmla="val 51354"/>
              <a:gd name="adj2" fmla="val -126"/>
              <a:gd name="adj3" fmla="val 158163"/>
              <a:gd name="adj4" fmla="val -59822"/>
            </a:avLst>
          </a:prstGeom>
          <a:solidFill>
            <a:srgbClr val="ED1933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algn="ctr" rtl="1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</a:rPr>
              <a:t>Measure</a:t>
            </a:r>
            <a:endParaRPr lang="he-IL" b="1" dirty="0">
              <a:solidFill>
                <a:srgbClr val="FFFFFF"/>
              </a:solidFill>
            </a:endParaRPr>
          </a:p>
        </p:txBody>
      </p:sp>
      <p:sp>
        <p:nvSpPr>
          <p:cNvPr id="21" name="Line Callout 1 20"/>
          <p:cNvSpPr/>
          <p:nvPr/>
        </p:nvSpPr>
        <p:spPr bwMode="auto">
          <a:xfrm>
            <a:off x="7127735" y="3024833"/>
            <a:ext cx="1592517" cy="720080"/>
          </a:xfrm>
          <a:prstGeom prst="borderCallout1">
            <a:avLst>
              <a:gd name="adj1" fmla="val 51354"/>
              <a:gd name="adj2" fmla="val -126"/>
              <a:gd name="adj3" fmla="val 49342"/>
              <a:gd name="adj4" fmla="val -67487"/>
            </a:avLst>
          </a:prstGeom>
          <a:solidFill>
            <a:srgbClr val="ED1933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algn="ctr" rtl="1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</a:rPr>
              <a:t>Dimension</a:t>
            </a:r>
            <a:endParaRPr lang="he-IL" b="1" dirty="0">
              <a:solidFill>
                <a:srgbClr val="FFFFFF"/>
              </a:solidFill>
            </a:endParaRPr>
          </a:p>
        </p:txBody>
      </p:sp>
      <p:sp>
        <p:nvSpPr>
          <p:cNvPr id="22" name="Line Callout 1 21"/>
          <p:cNvSpPr/>
          <p:nvPr/>
        </p:nvSpPr>
        <p:spPr bwMode="auto">
          <a:xfrm>
            <a:off x="2862659" y="1152625"/>
            <a:ext cx="1608977" cy="720080"/>
          </a:xfrm>
          <a:prstGeom prst="borderCallout1">
            <a:avLst>
              <a:gd name="adj1" fmla="val 90823"/>
              <a:gd name="adj2" fmla="val 50609"/>
              <a:gd name="adj3" fmla="val 251498"/>
              <a:gd name="adj4" fmla="val 49706"/>
            </a:avLst>
          </a:prstGeom>
          <a:solidFill>
            <a:srgbClr val="ED1933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rgbClr val="FFFFFF"/>
                </a:solidFill>
              </a:rPr>
              <a:t>Shared</a:t>
            </a:r>
          </a:p>
          <a:p>
            <a:pPr marL="0" marR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</a:rPr>
              <a:t>Dimension</a:t>
            </a:r>
            <a:endParaRPr kumimoji="0" lang="he-IL" sz="18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263740" y="5819375"/>
            <a:ext cx="55579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rgbClr val="00558A"/>
                </a:solidFill>
              </a:rPr>
              <a:t>Enterprise Datawarehouse</a:t>
            </a:r>
            <a:endParaRPr lang="he-IL" sz="2800" dirty="0">
              <a:solidFill>
                <a:srgbClr val="00558A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72174" y="1894161"/>
            <a:ext cx="972110" cy="11306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4211360" y="1970352"/>
            <a:ext cx="853605" cy="10146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01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>
        <p:bldAsOne/>
      </p:bldGraphic>
      <p:bldGraphic spid="15" grpId="0">
        <p:bldAsOne/>
      </p:bldGraphic>
      <p:bldGraphic spid="16" grpId="0">
        <p:bldAsOne/>
      </p:bldGraphic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963" y="1583637"/>
            <a:ext cx="8528119" cy="41433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Star to </a:t>
            </a:r>
            <a:r>
              <a:rPr lang="en-US" dirty="0"/>
              <a:t>S</a:t>
            </a:r>
            <a:r>
              <a:rPr lang="en-US" dirty="0" smtClean="0"/>
              <a:t>now-Flak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104" y="3876174"/>
            <a:ext cx="2435120" cy="1554264"/>
          </a:xfrm>
          <a:prstGeom prst="rect">
            <a:avLst/>
          </a:prstGeom>
        </p:spPr>
      </p:pic>
      <p:grpSp>
        <p:nvGrpSpPr>
          <p:cNvPr id="27" name="Group 26"/>
          <p:cNvGrpSpPr/>
          <p:nvPr/>
        </p:nvGrpSpPr>
        <p:grpSpPr>
          <a:xfrm>
            <a:off x="3157871" y="2046767"/>
            <a:ext cx="5938282" cy="3832665"/>
            <a:chOff x="3157871" y="2046767"/>
            <a:chExt cx="5938282" cy="3832665"/>
          </a:xfrm>
        </p:grpSpPr>
        <p:grpSp>
          <p:nvGrpSpPr>
            <p:cNvPr id="23" name="Group 22"/>
            <p:cNvGrpSpPr/>
            <p:nvPr/>
          </p:nvGrpSpPr>
          <p:grpSpPr>
            <a:xfrm>
              <a:off x="3655828" y="2046767"/>
              <a:ext cx="4504660" cy="1149063"/>
              <a:chOff x="3655828" y="2046767"/>
              <a:chExt cx="4504660" cy="1149063"/>
            </a:xfrm>
          </p:grpSpPr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82902" y="2046767"/>
                <a:ext cx="4077586" cy="1149063"/>
              </a:xfrm>
              <a:prstGeom prst="rect">
                <a:avLst/>
              </a:prstGeom>
            </p:spPr>
          </p:pic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655828" y="2402958"/>
                <a:ext cx="1341475" cy="792872"/>
              </a:xfrm>
              <a:prstGeom prst="rect">
                <a:avLst/>
              </a:prstGeom>
            </p:spPr>
          </p:pic>
        </p:grp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99791" y="2981219"/>
              <a:ext cx="2796362" cy="1845962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82680" y="4635795"/>
              <a:ext cx="1397758" cy="1243637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57871" y="5550197"/>
              <a:ext cx="4109870" cy="260128"/>
            </a:xfrm>
            <a:prstGeom prst="rect">
              <a:avLst/>
            </a:prstGeom>
          </p:spPr>
        </p:pic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2902" y="4757559"/>
            <a:ext cx="2626242" cy="922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578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ing a Start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184840"/>
            <a:ext cx="8111322" cy="4855742"/>
          </a:xfrm>
        </p:spPr>
        <p:txBody>
          <a:bodyPr/>
          <a:lstStyle/>
          <a:p>
            <a:r>
              <a:rPr lang="en-US" sz="2800" dirty="0" smtClean="0"/>
              <a:t>Designing a warehouse schema</a:t>
            </a:r>
          </a:p>
          <a:p>
            <a:pPr marL="628650" lvl="1" indent="-342900"/>
            <a:r>
              <a:rPr lang="en-US" sz="2400" dirty="0" smtClean="0"/>
              <a:t>Identify </a:t>
            </a:r>
            <a:r>
              <a:rPr lang="en-US" sz="2400" dirty="0"/>
              <a:t>Facts and Fact Table </a:t>
            </a:r>
            <a:r>
              <a:rPr lang="en-US" sz="2400" dirty="0" smtClean="0"/>
              <a:t>Grain</a:t>
            </a:r>
          </a:p>
          <a:p>
            <a:pPr marL="628650" lvl="1" indent="-342900"/>
            <a:r>
              <a:rPr lang="en-US" sz="2400" dirty="0"/>
              <a:t>Identify Dimension Keys and </a:t>
            </a:r>
            <a:r>
              <a:rPr lang="en-US" sz="2400" dirty="0" smtClean="0"/>
              <a:t>Attributes</a:t>
            </a:r>
          </a:p>
          <a:p>
            <a:pPr marL="912813" lvl="2" indent="-342900"/>
            <a:r>
              <a:rPr lang="en-US" sz="2200" dirty="0" smtClean="0"/>
              <a:t>Choosing </a:t>
            </a:r>
            <a:r>
              <a:rPr lang="en-US" sz="2200" dirty="0"/>
              <a:t>Star vs. </a:t>
            </a:r>
            <a:r>
              <a:rPr lang="en-US" sz="2200" dirty="0" smtClean="0"/>
              <a:t>Snowflake schema</a:t>
            </a:r>
          </a:p>
          <a:p>
            <a:pPr marL="912813" lvl="2" indent="-342900"/>
            <a:r>
              <a:rPr lang="en-US" sz="2200" dirty="0" smtClean="0"/>
              <a:t>There are many types of dimension</a:t>
            </a:r>
          </a:p>
          <a:p>
            <a:pPr marL="628650" lvl="1" indent="-342900"/>
            <a:r>
              <a:rPr lang="en-US" sz="2400" dirty="0" smtClean="0"/>
              <a:t>Model your dimensions</a:t>
            </a:r>
          </a:p>
          <a:p>
            <a:pPr marL="628650" lvl="1" indent="-342900"/>
            <a:r>
              <a:rPr lang="en-US" sz="2400" dirty="0" smtClean="0"/>
              <a:t>Model the Time and Date dimension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03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mension ty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258868"/>
            <a:ext cx="8111322" cy="4424271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ing dimension</a:t>
            </a:r>
          </a:p>
          <a:p>
            <a:pPr marL="628650" lvl="1" indent="-342900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lowly changing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mensions – Keep change history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628650" lvl="1" indent="-342900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apidly changing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mensions – No History, too many change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unk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mensions – Table of table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erred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mensions – Records generated by Referential integrity processe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formed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mensions – Shared dimens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generate dimensions – Stored inside of a FACT tabl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ole playing dimensions – Can be joined to multiple attribute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hrunken dimensions – Subset of a different dimens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utriggers – Many to Many relationship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atic dimensions – List of value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767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BI?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892702" y="2662453"/>
            <a:ext cx="303159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dirty="0">
                <a:solidFill>
                  <a:srgbClr val="464646"/>
                </a:solidFill>
              </a:rPr>
              <a:t>Collaboration </a:t>
            </a:r>
            <a:endParaRPr lang="he-IL" dirty="0">
              <a:solidFill>
                <a:srgbClr val="464646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5476082" y="2336684"/>
            <a:ext cx="177484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dirty="0">
                <a:solidFill>
                  <a:srgbClr val="464646"/>
                </a:solidFill>
              </a:rPr>
              <a:t>Search </a:t>
            </a:r>
            <a:endParaRPr lang="he-IL" dirty="0">
              <a:solidFill>
                <a:srgbClr val="464646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361950" y="4122910"/>
            <a:ext cx="23647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dirty="0">
                <a:solidFill>
                  <a:srgbClr val="464646"/>
                </a:solidFill>
              </a:rPr>
              <a:t>Integration</a:t>
            </a:r>
            <a:endParaRPr lang="he-IL" dirty="0">
              <a:solidFill>
                <a:srgbClr val="464646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563143" y="4388196"/>
            <a:ext cx="215956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dirty="0">
                <a:solidFill>
                  <a:srgbClr val="464646"/>
                </a:solidFill>
              </a:rPr>
              <a:t>Analytics </a:t>
            </a:r>
            <a:endParaRPr lang="he-IL" dirty="0">
              <a:solidFill>
                <a:srgbClr val="464646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69846" y="5585703"/>
            <a:ext cx="347242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4800" dirty="0">
                <a:solidFill>
                  <a:srgbClr val="464646"/>
                </a:solidFill>
              </a:rPr>
              <a:t>Data Mining</a:t>
            </a:r>
            <a:endParaRPr lang="he-IL" sz="4800" dirty="0">
              <a:solidFill>
                <a:srgbClr val="464646"/>
              </a:solidFill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6600031" y="4355310"/>
            <a:ext cx="204254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800" dirty="0">
                <a:solidFill>
                  <a:srgbClr val="464646"/>
                </a:solidFill>
              </a:rPr>
              <a:t>Personal BI</a:t>
            </a:r>
            <a:endParaRPr lang="he-IL" sz="2800" dirty="0">
              <a:solidFill>
                <a:srgbClr val="464646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4983162" y="4884285"/>
            <a:ext cx="323357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4800" dirty="0">
                <a:solidFill>
                  <a:srgbClr val="464646"/>
                </a:solidFill>
              </a:rPr>
              <a:t>information</a:t>
            </a:r>
            <a:endParaRPr lang="he-IL" sz="4800" dirty="0">
              <a:solidFill>
                <a:srgbClr val="464646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4882575" y="1932207"/>
            <a:ext cx="168026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000" dirty="0" smtClean="0">
                <a:solidFill>
                  <a:srgbClr val="464646"/>
                </a:solidFill>
              </a:rPr>
              <a:t>Management</a:t>
            </a:r>
            <a:endParaRPr lang="he-IL" sz="2000" dirty="0">
              <a:solidFill>
                <a:srgbClr val="464646"/>
              </a:solidFill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6207919" y="3022602"/>
            <a:ext cx="302839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4800" dirty="0">
                <a:solidFill>
                  <a:srgbClr val="464646"/>
                </a:solidFill>
              </a:rPr>
              <a:t>Reporting </a:t>
            </a:r>
            <a:endParaRPr lang="he-IL" sz="4800" dirty="0">
              <a:solidFill>
                <a:srgbClr val="464646"/>
              </a:solidFill>
            </a:endParaRP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3091058" y="3353469"/>
            <a:ext cx="310373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4400" dirty="0">
                <a:solidFill>
                  <a:srgbClr val="464646"/>
                </a:solidFill>
              </a:rPr>
              <a:t>Dashboard </a:t>
            </a:r>
            <a:endParaRPr lang="he-IL" sz="4400" dirty="0">
              <a:solidFill>
                <a:srgbClr val="464646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2073261" y="1214852"/>
            <a:ext cx="413465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dirty="0">
                <a:solidFill>
                  <a:srgbClr val="464646"/>
                </a:solidFill>
              </a:rPr>
              <a:t>Smart Applications </a:t>
            </a:r>
            <a:endParaRPr lang="he-IL" dirty="0">
              <a:solidFill>
                <a:srgbClr val="464646"/>
              </a:solidFill>
            </a:endParaRP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107986" y="1837722"/>
            <a:ext cx="241604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3200" dirty="0">
                <a:solidFill>
                  <a:srgbClr val="464646"/>
                </a:solidFill>
              </a:rPr>
              <a:t>Operational </a:t>
            </a:r>
            <a:endParaRPr lang="he-IL" sz="3200" dirty="0">
              <a:solidFill>
                <a:srgbClr val="464646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4527104" y="6037477"/>
            <a:ext cx="272382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dirty="0">
                <a:solidFill>
                  <a:srgbClr val="464646"/>
                </a:solidFill>
              </a:rPr>
              <a:t>Data Quality</a:t>
            </a:r>
            <a:endParaRPr lang="he-IL" dirty="0">
              <a:solidFill>
                <a:srgbClr val="464646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2380853" y="4838333"/>
            <a:ext cx="96532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800" dirty="0">
                <a:solidFill>
                  <a:srgbClr val="464646"/>
                </a:solidFill>
              </a:rPr>
              <a:t>Data</a:t>
            </a:r>
            <a:endParaRPr lang="he-IL" sz="2800" dirty="0">
              <a:solidFill>
                <a:srgbClr val="464646"/>
              </a:solidFill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7316108" y="1709739"/>
            <a:ext cx="144142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dirty="0">
                <a:solidFill>
                  <a:srgbClr val="464646"/>
                </a:solidFill>
              </a:rPr>
              <a:t>Social</a:t>
            </a:r>
            <a:endParaRPr lang="he-IL" dirty="0">
              <a:solidFill>
                <a:srgbClr val="464646"/>
              </a:solidFill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3277297" y="2329755"/>
            <a:ext cx="84029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000" dirty="0">
                <a:solidFill>
                  <a:srgbClr val="464646"/>
                </a:solidFill>
              </a:rPr>
              <a:t>A</a:t>
            </a:r>
            <a:r>
              <a:rPr lang="en-US" sz="2000" dirty="0" smtClean="0">
                <a:solidFill>
                  <a:srgbClr val="464646"/>
                </a:solidFill>
              </a:rPr>
              <a:t>lerts</a:t>
            </a:r>
            <a:endParaRPr lang="he-IL" sz="2000" dirty="0">
              <a:solidFill>
                <a:srgbClr val="464646"/>
              </a:solidFill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6089310" y="3873288"/>
            <a:ext cx="93968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000" dirty="0" smtClean="0">
                <a:solidFill>
                  <a:srgbClr val="464646"/>
                </a:solidFill>
              </a:rPr>
              <a:t>events</a:t>
            </a:r>
            <a:endParaRPr lang="he-IL" sz="2000" dirty="0">
              <a:solidFill>
                <a:srgbClr val="464646"/>
              </a:solidFill>
            </a:endParaRPr>
          </a:p>
        </p:txBody>
      </p:sp>
      <p:sp>
        <p:nvSpPr>
          <p:cNvPr id="23" name="Rectangle 22"/>
          <p:cNvSpPr>
            <a:spLocks noChangeArrowheads="1"/>
          </p:cNvSpPr>
          <p:nvPr/>
        </p:nvSpPr>
        <p:spPr bwMode="auto">
          <a:xfrm>
            <a:off x="6392778" y="877787"/>
            <a:ext cx="256993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dirty="0" smtClean="0">
                <a:solidFill>
                  <a:srgbClr val="464646"/>
                </a:solidFill>
              </a:rPr>
              <a:t>Understand</a:t>
            </a:r>
            <a:endParaRPr lang="he-IL" dirty="0">
              <a:solidFill>
                <a:srgbClr val="464646"/>
              </a:solidFill>
            </a:endParaRPr>
          </a:p>
        </p:txBody>
      </p:sp>
      <p:sp>
        <p:nvSpPr>
          <p:cNvPr id="24" name="Rectangle 23"/>
          <p:cNvSpPr>
            <a:spLocks noChangeArrowheads="1"/>
          </p:cNvSpPr>
          <p:nvPr/>
        </p:nvSpPr>
        <p:spPr bwMode="auto">
          <a:xfrm>
            <a:off x="570659" y="3379872"/>
            <a:ext cx="11833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800" dirty="0" smtClean="0">
                <a:solidFill>
                  <a:srgbClr val="464646"/>
                </a:solidFill>
              </a:rPr>
              <a:t>Action</a:t>
            </a:r>
            <a:endParaRPr lang="he-IL" sz="2800" dirty="0">
              <a:solidFill>
                <a:srgbClr val="464646"/>
              </a:solidFill>
            </a:endParaRPr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auto">
          <a:xfrm>
            <a:off x="2950220" y="5385648"/>
            <a:ext cx="137749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000" dirty="0" smtClean="0">
                <a:solidFill>
                  <a:srgbClr val="464646"/>
                </a:solidFill>
              </a:rPr>
              <a:t>Weakness</a:t>
            </a:r>
            <a:endParaRPr lang="he-IL" sz="2000" dirty="0">
              <a:solidFill>
                <a:srgbClr val="464646"/>
              </a:solidFill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4059866" y="2961865"/>
            <a:ext cx="194796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400" dirty="0" smtClean="0">
                <a:solidFill>
                  <a:srgbClr val="464646"/>
                </a:solidFill>
              </a:rPr>
              <a:t>Performance</a:t>
            </a:r>
            <a:endParaRPr lang="he-IL" sz="2400" dirty="0">
              <a:solidFill>
                <a:srgbClr val="464646"/>
              </a:solidFill>
            </a:endParaRP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6689799" y="5721037"/>
            <a:ext cx="125547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000" dirty="0" smtClean="0">
                <a:solidFill>
                  <a:srgbClr val="464646"/>
                </a:solidFill>
              </a:rPr>
              <a:t>decisions</a:t>
            </a:r>
            <a:endParaRPr lang="he-IL" sz="2000" dirty="0">
              <a:solidFill>
                <a:srgbClr val="464646"/>
              </a:solidFill>
            </a:endParaRP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504825" y="1471318"/>
            <a:ext cx="157927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r>
              <a:rPr lang="en-US" sz="2000" dirty="0" smtClean="0">
                <a:solidFill>
                  <a:srgbClr val="464646"/>
                </a:solidFill>
              </a:rPr>
              <a:t>Master Data</a:t>
            </a:r>
            <a:endParaRPr lang="he-IL" sz="20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280976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5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5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5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5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5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5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5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5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5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5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5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5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5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6" dur="5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9" dur="5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5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5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8" dur="5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1" dur="5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5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teps for a Data </a:t>
            </a:r>
            <a:r>
              <a:rPr lang="en-US" dirty="0" err="1" smtClean="0"/>
              <a:t>warhouse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649896317"/>
              </p:ext>
            </p:extLst>
          </p:nvPr>
        </p:nvGraphicFramePr>
        <p:xfrm>
          <a:off x="919843" y="1224642"/>
          <a:ext cx="7342414" cy="4546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50893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1571432-935F-418F-8EB1-EA1A43050B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FF049AE-C54A-4D31-908C-A502B61505B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47A945D-8DF5-4AC8-9A7D-D6E40D028A8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onal Partitioning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7200" y="1241990"/>
            <a:ext cx="8111322" cy="48557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5425" indent="-22542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1175" indent="-2254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95338" indent="-225425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81088" indent="-225425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323975" indent="-1841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smtClean="0"/>
              <a:t>Horizontal partitioning</a:t>
            </a:r>
          </a:p>
          <a:p>
            <a:pPr marL="342900" lvl="1" indent="-342900">
              <a:spcBef>
                <a:spcPts val="1000"/>
              </a:spcBef>
              <a:tabLst/>
            </a:pPr>
            <a:r>
              <a:rPr lang="en-US" sz="2400" dirty="0" smtClean="0"/>
              <a:t>Horizontal partitioning – Divides tables into multiple physical tables by row</a:t>
            </a:r>
          </a:p>
          <a:p>
            <a:pPr marL="627063" lvl="2" indent="-342900">
              <a:spcBef>
                <a:spcPts val="1000"/>
              </a:spcBef>
            </a:pPr>
            <a:r>
              <a:rPr lang="en-US" sz="2200" dirty="0" smtClean="0"/>
              <a:t>i.e. Partition by Month</a:t>
            </a:r>
          </a:p>
          <a:p>
            <a:pPr marL="284163" lvl="2" indent="0">
              <a:spcBef>
                <a:spcPts val="1000"/>
              </a:spcBef>
              <a:buNone/>
            </a:pPr>
            <a:endParaRPr lang="en-US" sz="2200" dirty="0" smtClean="0"/>
          </a:p>
          <a:p>
            <a:endParaRPr lang="en-US" sz="2400" b="0" dirty="0">
              <a:solidFill>
                <a:schemeClr val="bg2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713" y="3319463"/>
            <a:ext cx="5486400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5659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ional Partitioning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661" y="3357563"/>
            <a:ext cx="5486400" cy="303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368051"/>
            <a:ext cx="8111322" cy="4424271"/>
          </a:xfrm>
        </p:spPr>
        <p:txBody>
          <a:bodyPr/>
          <a:lstStyle/>
          <a:p>
            <a:pPr marL="57150" indent="-342900"/>
            <a:r>
              <a:rPr lang="en-US" sz="2400" dirty="0"/>
              <a:t>Vertical </a:t>
            </a:r>
            <a:r>
              <a:rPr lang="en-US" sz="2400" dirty="0" smtClean="0"/>
              <a:t>Partitioning</a:t>
            </a:r>
          </a:p>
          <a:p>
            <a:pPr marL="342900" lvl="1" indent="-342900">
              <a:spcBef>
                <a:spcPts val="1000"/>
              </a:spcBef>
              <a:tabLst/>
            </a:pPr>
            <a:r>
              <a:rPr lang="en-US" sz="2400" dirty="0" smtClean="0"/>
              <a:t>Vertical </a:t>
            </a:r>
            <a:r>
              <a:rPr lang="en-US" sz="2400" dirty="0"/>
              <a:t>partitioning – Dividing tables by their columns</a:t>
            </a:r>
          </a:p>
          <a:p>
            <a:pPr marL="627063" lvl="2" indent="-342900">
              <a:spcBef>
                <a:spcPts val="1000"/>
              </a:spcBef>
            </a:pPr>
            <a:r>
              <a:rPr lang="en-US" sz="2200" dirty="0"/>
              <a:t>i.e. Remove columns to increase scan speed AKA Normaliz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101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teps for a Data </a:t>
            </a:r>
            <a:r>
              <a:rPr lang="en-US" dirty="0" err="1" smtClean="0"/>
              <a:t>warhouse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034464010"/>
              </p:ext>
            </p:extLst>
          </p:nvPr>
        </p:nvGraphicFramePr>
        <p:xfrm>
          <a:off x="919843" y="1224642"/>
          <a:ext cx="7342414" cy="4546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35867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1571432-935F-418F-8EB1-EA1A43050B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DAF4C77-2822-46D2-BF72-F99946346FF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1A88A3D-5BE7-4B78-B4B8-34FB999DCC0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Information Systems 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629816" y="1103389"/>
            <a:ext cx="2560320" cy="5116514"/>
            <a:chOff x="629816" y="1103389"/>
            <a:chExt cx="2560320" cy="5116514"/>
          </a:xfrm>
        </p:grpSpPr>
        <p:sp>
          <p:nvSpPr>
            <p:cNvPr id="10" name="Rectangle 9"/>
            <p:cNvSpPr/>
            <p:nvPr>
              <p:custDataLst>
                <p:tags r:id="rId5"/>
              </p:custDataLst>
            </p:nvPr>
          </p:nvSpPr>
          <p:spPr bwMode="auto">
            <a:xfrm>
              <a:off x="629816" y="3202383"/>
              <a:ext cx="2560320" cy="3017520"/>
            </a:xfrm>
            <a:prstGeom prst="rect">
              <a:avLst/>
            </a:prstGeom>
            <a:solidFill>
              <a:srgbClr val="7D7D7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Usually the most used information system as the basis for the Datawarehouse implementation</a:t>
              </a:r>
            </a:p>
            <a:p>
              <a:pPr marL="234950" indent="-2349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Sub types are the </a:t>
              </a: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  <a:hlinkClick r:id="rId8" action="ppaction://hlinkfile"/>
                </a:rPr>
                <a:t>columnar</a:t>
              </a:r>
              <a:r>
                <a:rPr lang="en-US" sz="1600" dirty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 </a:t>
              </a: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and Analytical databases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6"/>
              </p:custDataLst>
            </p:nvPr>
          </p:nvSpPr>
          <p:spPr bwMode="auto">
            <a:xfrm>
              <a:off x="629816" y="1103389"/>
              <a:ext cx="2560320" cy="20989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lvl="1" algn="ctr" defTabSz="914023"/>
              <a:r>
                <a:rPr lang="en-US" dirty="0" smtClean="0">
                  <a:solidFill>
                    <a:schemeClr val="bg1">
                      <a:alpha val="99000"/>
                    </a:schemeClr>
                  </a:solidFill>
                </a:rPr>
                <a:t>Relational &amp; Analytical Database</a:t>
              </a:r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379362" y="1725961"/>
              <a:ext cx="1061227" cy="1311168"/>
            </a:xfrm>
            <a:prstGeom prst="rect">
              <a:avLst/>
            </a:prstGeom>
          </p:spPr>
        </p:pic>
      </p:grpSp>
      <p:grpSp>
        <p:nvGrpSpPr>
          <p:cNvPr id="44" name="Group 43"/>
          <p:cNvGrpSpPr/>
          <p:nvPr/>
        </p:nvGrpSpPr>
        <p:grpSpPr>
          <a:xfrm>
            <a:off x="3335772" y="1103389"/>
            <a:ext cx="2560320" cy="5116514"/>
            <a:chOff x="3335772" y="1103389"/>
            <a:chExt cx="2560320" cy="5116514"/>
          </a:xfrm>
        </p:grpSpPr>
        <p:sp>
          <p:nvSpPr>
            <p:cNvPr id="35" name="Rectangle 34"/>
            <p:cNvSpPr/>
            <p:nvPr>
              <p:custDataLst>
                <p:tags r:id="rId3"/>
              </p:custDataLst>
            </p:nvPr>
          </p:nvSpPr>
          <p:spPr bwMode="auto">
            <a:xfrm>
              <a:off x="3335772" y="3202383"/>
              <a:ext cx="2560320" cy="3017520"/>
            </a:xfrm>
            <a:prstGeom prst="rect">
              <a:avLst/>
            </a:prstGeom>
            <a:solidFill>
              <a:srgbClr val="7D7D7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indent="-2857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Online Analytical Processing Information system</a:t>
              </a:r>
            </a:p>
            <a:p>
              <a:pPr marL="285750" indent="-2857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Used for advanced reporting and analytics</a:t>
              </a:r>
            </a:p>
            <a:p>
              <a:pPr marL="285750" indent="-2857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Supports complex actions (slicing and dicing)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endParaRPr>
            </a:p>
          </p:txBody>
        </p:sp>
        <p:sp>
          <p:nvSpPr>
            <p:cNvPr id="36" name="Rectangle 35"/>
            <p:cNvSpPr/>
            <p:nvPr>
              <p:custDataLst>
                <p:tags r:id="rId4"/>
              </p:custDataLst>
            </p:nvPr>
          </p:nvSpPr>
          <p:spPr bwMode="auto">
            <a:xfrm>
              <a:off x="3335772" y="1103389"/>
              <a:ext cx="2560320" cy="20989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lvl="1" algn="ctr" defTabSz="914023"/>
              <a:r>
                <a:rPr lang="en-US" dirty="0" smtClean="0">
                  <a:solidFill>
                    <a:schemeClr val="bg1">
                      <a:alpha val="99000"/>
                    </a:schemeClr>
                  </a:solidFill>
                </a:rPr>
                <a:t>OLAP (aka Cube)</a:t>
              </a:r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01841" y="1725961"/>
              <a:ext cx="1061227" cy="1311168"/>
            </a:xfrm>
            <a:prstGeom prst="rect">
              <a:avLst/>
            </a:prstGeom>
          </p:spPr>
        </p:pic>
      </p:grpSp>
      <p:grpSp>
        <p:nvGrpSpPr>
          <p:cNvPr id="45" name="Group 44"/>
          <p:cNvGrpSpPr/>
          <p:nvPr/>
        </p:nvGrpSpPr>
        <p:grpSpPr>
          <a:xfrm>
            <a:off x="6020118" y="1103389"/>
            <a:ext cx="2560320" cy="5116514"/>
            <a:chOff x="6020118" y="1103389"/>
            <a:chExt cx="2560320" cy="5116514"/>
          </a:xfrm>
        </p:grpSpPr>
        <p:sp>
          <p:nvSpPr>
            <p:cNvPr id="4" name="Rectangle 3"/>
            <p:cNvSpPr/>
            <p:nvPr>
              <p:custDataLst>
                <p:tags r:id="rId1"/>
              </p:custDataLst>
            </p:nvPr>
          </p:nvSpPr>
          <p:spPr bwMode="auto">
            <a:xfrm>
              <a:off x="6020118" y="3202383"/>
              <a:ext cx="2560320" cy="3017520"/>
            </a:xfrm>
            <a:prstGeom prst="rect">
              <a:avLst/>
            </a:prstGeom>
            <a:solidFill>
              <a:srgbClr val="7D7D7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indent="-2857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Used for High Velocity online aggregations and reporting</a:t>
              </a:r>
            </a:p>
            <a:p>
              <a:pPr marL="285750" indent="-2857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Provides order of magnitude performance gains for queries</a:t>
              </a:r>
            </a:p>
            <a:p>
              <a:pPr marL="285750" indent="-285750" defTabSz="1218615" fontAlgn="base">
                <a:spcBef>
                  <a:spcPts val="60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  <a:cs typeface="Segoe UI" pitchFamily="34" charset="0"/>
                </a:rPr>
                <a:t>Requires simple data models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>
              <p:custDataLst>
                <p:tags r:id="rId2"/>
              </p:custDataLst>
            </p:nvPr>
          </p:nvSpPr>
          <p:spPr bwMode="auto">
            <a:xfrm>
              <a:off x="6020118" y="1103389"/>
              <a:ext cx="2560320" cy="20989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lvl="1" algn="ctr" defTabSz="914023"/>
              <a:r>
                <a:rPr lang="en-US" dirty="0" smtClean="0">
                  <a:solidFill>
                    <a:schemeClr val="bg1">
                      <a:alpha val="99000"/>
                    </a:schemeClr>
                  </a:solidFill>
                </a:rPr>
                <a:t>In Memory</a:t>
              </a:r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724132" y="1725961"/>
              <a:ext cx="1075764" cy="13291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9966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/>
          <p:cNvSpPr/>
          <p:nvPr/>
        </p:nvSpPr>
        <p:spPr>
          <a:xfrm>
            <a:off x="457200" y="1207485"/>
            <a:ext cx="7859293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2"/>
                </a:solidFill>
              </a:rPr>
              <a:t>Row or Column based databases</a:t>
            </a:r>
            <a:endParaRPr lang="en-US" sz="2400" dirty="0">
              <a:solidFill>
                <a:schemeClr val="bg2"/>
              </a:solidFill>
            </a:endParaRPr>
          </a:p>
          <a:p>
            <a:pPr marL="342900" lvl="1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2"/>
                </a:solidFill>
              </a:rPr>
              <a:t>Schema is designed specifically for data warehousing</a:t>
            </a:r>
            <a:endParaRPr lang="en-US" sz="2400" dirty="0">
              <a:solidFill>
                <a:schemeClr val="bg2"/>
              </a:solidFill>
            </a:endParaRPr>
          </a:p>
          <a:p>
            <a:pPr marL="342900" lvl="1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2"/>
                </a:solidFill>
              </a:rPr>
              <a:t>No use of constraints or Foreign Keys</a:t>
            </a:r>
          </a:p>
          <a:p>
            <a:pPr marL="342900" lvl="1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en-US" sz="2400" dirty="0">
              <a:solidFill>
                <a:schemeClr val="bg2"/>
              </a:solidFill>
            </a:endParaRPr>
          </a:p>
          <a:p>
            <a:pPr marL="342900" lvl="1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b="1" dirty="0" smtClean="0">
                <a:solidFill>
                  <a:schemeClr val="bg2"/>
                </a:solidFill>
              </a:rPr>
              <a:t>Row store is usually designed differently than Column oriented databases </a:t>
            </a:r>
          </a:p>
          <a:p>
            <a:pPr marL="342900" lvl="1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en-US" sz="2400" dirty="0">
              <a:solidFill>
                <a:schemeClr val="bg2"/>
              </a:solidFill>
            </a:endParaRPr>
          </a:p>
          <a:p>
            <a:pPr marL="342900" lvl="1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2"/>
                </a:solidFill>
              </a:rPr>
              <a:t>Open source examples are SybaseIQ</a:t>
            </a:r>
            <a:r>
              <a:rPr lang="en-US" sz="2400" dirty="0">
                <a:solidFill>
                  <a:schemeClr val="bg2"/>
                </a:solidFill>
              </a:rPr>
              <a:t>, Infobright Community Edition, Vertica Community </a:t>
            </a:r>
            <a:r>
              <a:rPr lang="en-US" sz="2400" dirty="0" smtClean="0">
                <a:solidFill>
                  <a:schemeClr val="bg2"/>
                </a:solidFill>
              </a:rPr>
              <a:t>Edition and more.</a:t>
            </a:r>
            <a:endParaRPr lang="en-US" sz="2400" dirty="0">
              <a:solidFill>
                <a:schemeClr val="bg2"/>
              </a:solidFill>
            </a:endParaRPr>
          </a:p>
        </p:txBody>
      </p:sp>
      <p:sp>
        <p:nvSpPr>
          <p:cNvPr id="119" name="Title 1"/>
          <p:cNvSpPr>
            <a:spLocks noGrp="1"/>
          </p:cNvSpPr>
          <p:nvPr>
            <p:ph type="title"/>
          </p:nvPr>
        </p:nvSpPr>
        <p:spPr>
          <a:xfrm>
            <a:off x="457200" y="334171"/>
            <a:ext cx="8123238" cy="563562"/>
          </a:xfrm>
        </p:spPr>
        <p:txBody>
          <a:bodyPr/>
          <a:lstStyle/>
          <a:p>
            <a:pPr marL="0" lvl="1" algn="l" rtl="0">
              <a:spcBef>
                <a:spcPct val="0"/>
              </a:spcBef>
            </a:pPr>
            <a:r>
              <a:rPr lang="en-US" sz="2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lational &amp; Analytical Databas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42489" y="154876"/>
            <a:ext cx="601250" cy="7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69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/>
          <p:cNvSpPr/>
          <p:nvPr/>
        </p:nvSpPr>
        <p:spPr>
          <a:xfrm>
            <a:off x="737856" y="1207485"/>
            <a:ext cx="75161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lvl="0" indent="-225425">
              <a:spcBef>
                <a:spcPts val="1000"/>
              </a:spcBef>
              <a:buClr>
                <a:schemeClr val="accent1"/>
              </a:buClr>
              <a:defRPr/>
            </a:pPr>
            <a:r>
              <a:rPr lang="en-US" sz="2800" b="1" dirty="0" smtClean="0">
                <a:solidFill>
                  <a:schemeClr val="accent1"/>
                </a:solidFill>
              </a:rPr>
              <a:t>OLAP = Online Analytical Processing</a:t>
            </a:r>
            <a:endParaRPr lang="he-IL" sz="2800" b="1" dirty="0">
              <a:solidFill>
                <a:schemeClr val="accent1"/>
              </a:solidFill>
            </a:endParaRPr>
          </a:p>
        </p:txBody>
      </p:sp>
      <p:sp>
        <p:nvSpPr>
          <p:cNvPr id="119" name="Title 1"/>
          <p:cNvSpPr>
            <a:spLocks noGrp="1"/>
          </p:cNvSpPr>
          <p:nvPr>
            <p:ph type="title"/>
          </p:nvPr>
        </p:nvSpPr>
        <p:spPr>
          <a:xfrm>
            <a:off x="457200" y="334171"/>
            <a:ext cx="8123238" cy="563562"/>
          </a:xfrm>
        </p:spPr>
        <p:txBody>
          <a:bodyPr/>
          <a:lstStyle/>
          <a:p>
            <a:pPr lvl="1" algn="l" defTabSz="914023" rtl="0">
              <a:spcBef>
                <a:spcPct val="0"/>
              </a:spcBef>
            </a:pPr>
            <a:r>
              <a:rPr lang="en-US" sz="22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LAP Databases</a:t>
            </a:r>
            <a:endParaRPr lang="en-US" sz="2200" b="1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112701" y="1917767"/>
            <a:ext cx="3384376" cy="1232631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400" u="sng" dirty="0" smtClean="0">
                <a:solidFill>
                  <a:schemeClr val="lt1">
                    <a:alpha val="99000"/>
                  </a:schemeClr>
                </a:solidFill>
              </a:rPr>
              <a:t>Online</a:t>
            </a:r>
          </a:p>
          <a:p>
            <a:pPr algn="ctr" defTabSz="914023"/>
            <a:r>
              <a:rPr lang="en-US" sz="2400" dirty="0" smtClean="0">
                <a:solidFill>
                  <a:schemeClr val="lt1">
                    <a:alpha val="99000"/>
                  </a:schemeClr>
                </a:solidFill>
              </a:rPr>
              <a:t>Fast Answers!</a:t>
            </a:r>
            <a:endParaRPr lang="en-US" sz="24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4703440" y="1917767"/>
            <a:ext cx="3384376" cy="1232631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400" u="sng" dirty="0" smtClean="0">
                <a:solidFill>
                  <a:schemeClr val="lt1">
                    <a:alpha val="99000"/>
                  </a:schemeClr>
                </a:solidFill>
              </a:rPr>
              <a:t>Analytical</a:t>
            </a:r>
          </a:p>
          <a:p>
            <a:pPr algn="ctr" defTabSz="914023"/>
            <a:r>
              <a:rPr lang="en-US" sz="2400" dirty="0" smtClean="0">
                <a:solidFill>
                  <a:schemeClr val="lt1">
                    <a:alpha val="99000"/>
                  </a:schemeClr>
                </a:solidFill>
              </a:rPr>
              <a:t>Very complex business questions</a:t>
            </a:r>
            <a:endParaRPr lang="en-US" sz="24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35" name="Right Arrow 20"/>
          <p:cNvSpPr/>
          <p:nvPr>
            <p:custDataLst>
              <p:tags r:id="rId1"/>
            </p:custDataLst>
          </p:nvPr>
        </p:nvSpPr>
        <p:spPr>
          <a:xfrm rot="5400000">
            <a:off x="4410806" y="1717330"/>
            <a:ext cx="369244" cy="3384376"/>
          </a:xfrm>
          <a:custGeom>
            <a:avLst/>
            <a:gdLst>
              <a:gd name="connsiteX0" fmla="*/ 0 w 548640"/>
              <a:gd name="connsiteY0" fmla="*/ 121158 h 484632"/>
              <a:gd name="connsiteX1" fmla="*/ 306324 w 548640"/>
              <a:gd name="connsiteY1" fmla="*/ 121158 h 484632"/>
              <a:gd name="connsiteX2" fmla="*/ 306324 w 548640"/>
              <a:gd name="connsiteY2" fmla="*/ 0 h 484632"/>
              <a:gd name="connsiteX3" fmla="*/ 548640 w 548640"/>
              <a:gd name="connsiteY3" fmla="*/ 242316 h 484632"/>
              <a:gd name="connsiteX4" fmla="*/ 306324 w 548640"/>
              <a:gd name="connsiteY4" fmla="*/ 484632 h 484632"/>
              <a:gd name="connsiteX5" fmla="*/ 306324 w 548640"/>
              <a:gd name="connsiteY5" fmla="*/ 363474 h 484632"/>
              <a:gd name="connsiteX6" fmla="*/ 0 w 548640"/>
              <a:gd name="connsiteY6" fmla="*/ 363474 h 484632"/>
              <a:gd name="connsiteX7" fmla="*/ 0 w 548640"/>
              <a:gd name="connsiteY7" fmla="*/ 121158 h 484632"/>
              <a:gd name="connsiteX0" fmla="*/ 0 w 548640"/>
              <a:gd name="connsiteY0" fmla="*/ 363474 h 484632"/>
              <a:gd name="connsiteX1" fmla="*/ 306324 w 548640"/>
              <a:gd name="connsiteY1" fmla="*/ 121158 h 484632"/>
              <a:gd name="connsiteX2" fmla="*/ 306324 w 548640"/>
              <a:gd name="connsiteY2" fmla="*/ 0 h 484632"/>
              <a:gd name="connsiteX3" fmla="*/ 548640 w 548640"/>
              <a:gd name="connsiteY3" fmla="*/ 242316 h 484632"/>
              <a:gd name="connsiteX4" fmla="*/ 306324 w 548640"/>
              <a:gd name="connsiteY4" fmla="*/ 484632 h 484632"/>
              <a:gd name="connsiteX5" fmla="*/ 306324 w 548640"/>
              <a:gd name="connsiteY5" fmla="*/ 363474 h 484632"/>
              <a:gd name="connsiteX6" fmla="*/ 0 w 548640"/>
              <a:gd name="connsiteY6" fmla="*/ 363474 h 484632"/>
              <a:gd name="connsiteX0" fmla="*/ 0 w 242316"/>
              <a:gd name="connsiteY0" fmla="*/ 363474 h 484632"/>
              <a:gd name="connsiteX1" fmla="*/ 0 w 242316"/>
              <a:gd name="connsiteY1" fmla="*/ 121158 h 484632"/>
              <a:gd name="connsiteX2" fmla="*/ 0 w 242316"/>
              <a:gd name="connsiteY2" fmla="*/ 0 h 484632"/>
              <a:gd name="connsiteX3" fmla="*/ 242316 w 242316"/>
              <a:gd name="connsiteY3" fmla="*/ 242316 h 484632"/>
              <a:gd name="connsiteX4" fmla="*/ 0 w 242316"/>
              <a:gd name="connsiteY4" fmla="*/ 484632 h 484632"/>
              <a:gd name="connsiteX5" fmla="*/ 0 w 242316"/>
              <a:gd name="connsiteY5" fmla="*/ 363474 h 484632"/>
              <a:gd name="connsiteX0" fmla="*/ 0 w 242316"/>
              <a:gd name="connsiteY0" fmla="*/ 484632 h 484632"/>
              <a:gd name="connsiteX1" fmla="*/ 0 w 242316"/>
              <a:gd name="connsiteY1" fmla="*/ 121158 h 484632"/>
              <a:gd name="connsiteX2" fmla="*/ 0 w 242316"/>
              <a:gd name="connsiteY2" fmla="*/ 0 h 484632"/>
              <a:gd name="connsiteX3" fmla="*/ 242316 w 242316"/>
              <a:gd name="connsiteY3" fmla="*/ 242316 h 484632"/>
              <a:gd name="connsiteX4" fmla="*/ 0 w 242316"/>
              <a:gd name="connsiteY4" fmla="*/ 484632 h 484632"/>
              <a:gd name="connsiteX0" fmla="*/ 0 w 242316"/>
              <a:gd name="connsiteY0" fmla="*/ 484632 h 484632"/>
              <a:gd name="connsiteX1" fmla="*/ 0 w 242316"/>
              <a:gd name="connsiteY1" fmla="*/ 0 h 484632"/>
              <a:gd name="connsiteX2" fmla="*/ 242316 w 242316"/>
              <a:gd name="connsiteY2" fmla="*/ 242316 h 484632"/>
              <a:gd name="connsiteX3" fmla="*/ 0 w 242316"/>
              <a:gd name="connsiteY3" fmla="*/ 484632 h 484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2316" h="484632">
                <a:moveTo>
                  <a:pt x="0" y="484632"/>
                </a:moveTo>
                <a:lnTo>
                  <a:pt x="0" y="0"/>
                </a:lnTo>
                <a:lnTo>
                  <a:pt x="242316" y="242316"/>
                </a:lnTo>
                <a:lnTo>
                  <a:pt x="0" y="4846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2272304" y="3668638"/>
            <a:ext cx="4667992" cy="1232631"/>
          </a:xfrm>
          <a:prstGeom prst="rect">
            <a:avLst/>
          </a:prstGeom>
          <a:solidFill>
            <a:srgbClr val="6B6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400" dirty="0" smtClean="0">
                <a:solidFill>
                  <a:schemeClr val="lt1">
                    <a:alpha val="99000"/>
                  </a:schemeClr>
                </a:solidFill>
              </a:rPr>
              <a:t>OLAP Provides fast answers for complicated questions</a:t>
            </a:r>
            <a:endParaRPr lang="en-US" sz="2400" dirty="0">
              <a:solidFill>
                <a:schemeClr val="lt1">
                  <a:alpha val="99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5165" y="155093"/>
            <a:ext cx="601074" cy="74264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934716" y="5164531"/>
            <a:ext cx="741044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000"/>
              </a:spcBef>
              <a:buClr>
                <a:schemeClr val="accent1"/>
              </a:buClr>
            </a:pPr>
            <a:r>
              <a:rPr lang="en-US" sz="2800" b="1" dirty="0">
                <a:solidFill>
                  <a:schemeClr val="accent1"/>
                </a:solidFill>
              </a:rPr>
              <a:t>Requires a well designed relational Datawarehouse as a data source</a:t>
            </a:r>
          </a:p>
        </p:txBody>
      </p:sp>
    </p:spTree>
    <p:extLst>
      <p:ext uri="{BB962C8B-B14F-4D97-AF65-F5344CB8AC3E}">
        <p14:creationId xmlns:p14="http://schemas.microsoft.com/office/powerpoint/2010/main" val="135579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6" grpId="0" animBg="1"/>
      <p:bldP spid="2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LAP Fundamentals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520024" y="1159032"/>
            <a:ext cx="8236994" cy="1232631"/>
            <a:chOff x="520024" y="1159032"/>
            <a:chExt cx="8236994" cy="1232631"/>
          </a:xfrm>
        </p:grpSpPr>
        <p:sp>
          <p:nvSpPr>
            <p:cNvPr id="14" name="Rectangle 13"/>
            <p:cNvSpPr/>
            <p:nvPr/>
          </p:nvSpPr>
          <p:spPr bwMode="auto">
            <a:xfrm>
              <a:off x="1797487" y="1159032"/>
              <a:ext cx="2467230" cy="1232631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2600" dirty="0" smtClean="0">
                  <a:solidFill>
                    <a:schemeClr val="lt1">
                      <a:alpha val="99000"/>
                    </a:schemeClr>
                  </a:solidFill>
                </a:rPr>
                <a:t>Performance</a:t>
              </a:r>
              <a:endParaRPr lang="en-US" sz="2600" dirty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>
              <a:off x="520024" y="1159032"/>
              <a:ext cx="1187925" cy="1232631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2000" dirty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356394" y="1159032"/>
              <a:ext cx="4400624" cy="1232631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66688" indent="-166688" defTabSz="914023">
                <a:spcBef>
                  <a:spcPts val="300"/>
                </a:spcBef>
                <a:buFont typeface="Arial" pitchFamily="34" charset="0"/>
                <a:buChar char="•"/>
              </a:pPr>
              <a:r>
                <a:rPr lang="en-US" sz="1400" dirty="0" smtClean="0">
                  <a:solidFill>
                    <a:schemeClr val="lt1">
                      <a:alpha val="99000"/>
                    </a:schemeClr>
                  </a:solidFill>
                </a:rPr>
                <a:t>Contains pre-Aggregated data for hierarchy levels</a:t>
              </a:r>
              <a:endParaRPr lang="he-IL" sz="1400" dirty="0" smtClean="0">
                <a:solidFill>
                  <a:schemeClr val="lt1">
                    <a:alpha val="99000"/>
                  </a:schemeClr>
                </a:solidFill>
              </a:endParaRPr>
            </a:p>
            <a:p>
              <a:pPr marL="166688" indent="-166688" defTabSz="914023">
                <a:spcBef>
                  <a:spcPts val="300"/>
                </a:spcBef>
                <a:buFont typeface="Arial" pitchFamily="34" charset="0"/>
                <a:buChar char="•"/>
              </a:pPr>
              <a:r>
                <a:rPr lang="en-US" sz="1400" dirty="0" smtClean="0">
                  <a:solidFill>
                    <a:schemeClr val="lt1">
                      <a:alpha val="99000"/>
                    </a:schemeClr>
                  </a:solidFill>
                </a:rPr>
                <a:t>Allows scanning huge amount of data in seconds</a:t>
              </a:r>
              <a:endParaRPr lang="en-US" sz="1400" dirty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0067" y="1500375"/>
              <a:ext cx="565189" cy="538417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530368" y="5047464"/>
            <a:ext cx="8236994" cy="1194363"/>
            <a:chOff x="530368" y="5047464"/>
            <a:chExt cx="8236994" cy="1194363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797704" y="5047464"/>
              <a:ext cx="2467230" cy="119436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2600" dirty="0" smtClean="0">
                  <a:solidFill>
                    <a:schemeClr val="lt1">
                      <a:alpha val="99000"/>
                    </a:schemeClr>
                  </a:solidFill>
                </a:rPr>
                <a:t>Time Intelligence</a:t>
              </a:r>
              <a:endParaRPr lang="he-IL" sz="2000" dirty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530368" y="5047464"/>
              <a:ext cx="1187925" cy="1194363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4381176" y="5047464"/>
              <a:ext cx="4386186" cy="119436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166688" indent="-166688" defTabSz="914023">
                <a:spcBef>
                  <a:spcPts val="300"/>
                </a:spcBef>
                <a:buFont typeface="Arial" pitchFamily="34" charset="0"/>
                <a:buChar char="•"/>
              </a:pPr>
              <a:r>
                <a:rPr lang="en-US" sz="1400" dirty="0" smtClean="0">
                  <a:solidFill>
                    <a:schemeClr val="lt1">
                      <a:alpha val="99000"/>
                    </a:schemeClr>
                  </a:solidFill>
                </a:rPr>
                <a:t>Usually, the Time dimension is the most important dimension</a:t>
              </a:r>
            </a:p>
            <a:p>
              <a:pPr marL="166688" indent="-166688" defTabSz="914023">
                <a:spcBef>
                  <a:spcPts val="300"/>
                </a:spcBef>
                <a:buFont typeface="Arial" pitchFamily="34" charset="0"/>
                <a:buChar char="•"/>
              </a:pPr>
              <a:r>
                <a:rPr lang="en-US" sz="1400" dirty="0" smtClean="0">
                  <a:solidFill>
                    <a:schemeClr val="lt1">
                      <a:alpha val="99000"/>
                    </a:schemeClr>
                  </a:solidFill>
                </a:rPr>
                <a:t>Allows comparing between time based events, parallel periods and more </a:t>
              </a:r>
              <a:endParaRPr lang="en-US" sz="1400" dirty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08056" y="5205930"/>
              <a:ext cx="859560" cy="705630"/>
              <a:chOff x="7812360" y="5315658"/>
              <a:chExt cx="859560" cy="705630"/>
            </a:xfrm>
          </p:grpSpPr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12360" y="5545038"/>
                <a:ext cx="523875" cy="476250"/>
              </a:xfrm>
              <a:prstGeom prst="rect">
                <a:avLst/>
              </a:prstGeom>
            </p:spPr>
          </p:pic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515049">
                <a:off x="7957115" y="5315658"/>
                <a:ext cx="714805" cy="392557"/>
              </a:xfrm>
              <a:prstGeom prst="rect">
                <a:avLst/>
              </a:prstGeom>
            </p:spPr>
          </p:pic>
        </p:grpSp>
      </p:grpSp>
      <p:grpSp>
        <p:nvGrpSpPr>
          <p:cNvPr id="5" name="Group 4"/>
          <p:cNvGrpSpPr/>
          <p:nvPr/>
        </p:nvGrpSpPr>
        <p:grpSpPr>
          <a:xfrm>
            <a:off x="529168" y="3751320"/>
            <a:ext cx="8227850" cy="1194363"/>
            <a:chOff x="529168" y="3751320"/>
            <a:chExt cx="8227850" cy="1194363"/>
          </a:xfrm>
        </p:grpSpPr>
        <p:sp>
          <p:nvSpPr>
            <p:cNvPr id="27" name="Rectangle 26"/>
            <p:cNvSpPr/>
            <p:nvPr/>
          </p:nvSpPr>
          <p:spPr bwMode="auto">
            <a:xfrm>
              <a:off x="1796504" y="3751320"/>
              <a:ext cx="2467230" cy="119436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2400" dirty="0" smtClean="0">
                  <a:solidFill>
                    <a:schemeClr val="lt1">
                      <a:alpha val="99000"/>
                    </a:schemeClr>
                  </a:solidFill>
                </a:rPr>
                <a:t>Navigation</a:t>
              </a:r>
            </a:p>
            <a:p>
              <a:pPr algn="ctr" defTabSz="914023"/>
              <a:r>
                <a:rPr lang="en-US" sz="2400" dirty="0" smtClean="0">
                  <a:solidFill>
                    <a:schemeClr val="lt1">
                      <a:alpha val="99000"/>
                    </a:schemeClr>
                  </a:solidFill>
                </a:rPr>
                <a:t>In Hierarchies</a:t>
              </a:r>
              <a:endParaRPr lang="he-IL" sz="2400" dirty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529168" y="3751320"/>
              <a:ext cx="1187925" cy="1194363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2000" dirty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4370832" y="3751320"/>
              <a:ext cx="4386186" cy="119436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166688" indent="-166688" defTabSz="914023">
                <a:spcBef>
                  <a:spcPts val="300"/>
                </a:spcBef>
                <a:buFont typeface="Arial" pitchFamily="34" charset="0"/>
                <a:buChar char="•"/>
              </a:pPr>
              <a:r>
                <a:rPr lang="en-US" sz="1400" dirty="0" smtClean="0">
                  <a:solidFill>
                    <a:schemeClr val="lt1">
                      <a:alpha val="99000"/>
                    </a:schemeClr>
                  </a:solidFill>
                </a:rPr>
                <a:t>Historical data analysis and looking on time based snapshot</a:t>
              </a:r>
              <a:endParaRPr lang="he-IL" sz="1400" dirty="0">
                <a:solidFill>
                  <a:schemeClr val="lt1">
                    <a:alpha val="99000"/>
                  </a:schemeClr>
                </a:solidFill>
              </a:endParaRPr>
            </a:p>
            <a:p>
              <a:pPr marL="166688" indent="-166688" defTabSz="914023">
                <a:spcBef>
                  <a:spcPts val="300"/>
                </a:spcBef>
                <a:buFont typeface="Arial" pitchFamily="34" charset="0"/>
                <a:buChar char="•"/>
              </a:pPr>
              <a:r>
                <a:rPr lang="en-US" sz="1400" dirty="0" smtClean="0">
                  <a:solidFill>
                    <a:schemeClr val="lt1">
                      <a:alpha val="99000"/>
                    </a:schemeClr>
                  </a:solidFill>
                </a:rPr>
                <a:t>The same report can be executed for different periods in time</a:t>
              </a:r>
              <a:endParaRPr lang="en-US" sz="1400" dirty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42612" y="4027332"/>
              <a:ext cx="880098" cy="637454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520024" y="2455176"/>
            <a:ext cx="8236994" cy="1220485"/>
            <a:chOff x="520024" y="2455176"/>
            <a:chExt cx="8236994" cy="1220485"/>
          </a:xfrm>
        </p:grpSpPr>
        <p:sp>
          <p:nvSpPr>
            <p:cNvPr id="31" name="Rectangle 30"/>
            <p:cNvSpPr/>
            <p:nvPr/>
          </p:nvSpPr>
          <p:spPr bwMode="auto">
            <a:xfrm>
              <a:off x="1795648" y="2455176"/>
              <a:ext cx="2467230" cy="1220485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2600" dirty="0" smtClean="0">
                  <a:solidFill>
                    <a:schemeClr val="lt1">
                      <a:alpha val="99000"/>
                    </a:schemeClr>
                  </a:solidFill>
                </a:rPr>
                <a:t>Multi</a:t>
              </a:r>
            </a:p>
            <a:p>
              <a:pPr algn="ctr" defTabSz="914023"/>
              <a:r>
                <a:rPr lang="en-US" sz="2600" dirty="0" smtClean="0">
                  <a:solidFill>
                    <a:schemeClr val="lt1">
                      <a:alpha val="99000"/>
                    </a:schemeClr>
                  </a:solidFill>
                </a:rPr>
                <a:t>Dimensional</a:t>
              </a:r>
              <a:endParaRPr lang="he-IL" sz="2600" dirty="0" smtClean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 bwMode="auto">
            <a:xfrm>
              <a:off x="520024" y="2455176"/>
              <a:ext cx="1187925" cy="1220485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2000" dirty="0">
                <a:solidFill>
                  <a:schemeClr val="lt1">
                    <a:alpha val="99000"/>
                  </a:schemeClr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4370832" y="2455176"/>
              <a:ext cx="4386186" cy="1220485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166688" indent="-166688" defTabSz="914023">
                <a:spcBef>
                  <a:spcPts val="300"/>
                </a:spcBef>
                <a:buFont typeface="Arial" pitchFamily="34" charset="0"/>
                <a:buChar char="•"/>
              </a:pPr>
              <a:r>
                <a:rPr lang="en-US" sz="1400" dirty="0" smtClean="0">
                  <a:solidFill>
                    <a:schemeClr val="lt1">
                      <a:alpha val="99000"/>
                    </a:schemeClr>
                  </a:solidFill>
                </a:rPr>
                <a:t>Support operation such a Slicing and Dicing</a:t>
              </a:r>
              <a:endParaRPr lang="he-IL" sz="1400" dirty="0" smtClean="0">
                <a:solidFill>
                  <a:schemeClr val="lt1">
                    <a:alpha val="99000"/>
                  </a:schemeClr>
                </a:solidFill>
              </a:endParaRPr>
            </a:p>
            <a:p>
              <a:pPr marL="166688" indent="-166688" defTabSz="914023">
                <a:spcBef>
                  <a:spcPts val="300"/>
                </a:spcBef>
                <a:buFont typeface="Arial" pitchFamily="34" charset="0"/>
                <a:buChar char="•"/>
              </a:pPr>
              <a:r>
                <a:rPr lang="en-US" sz="1400" dirty="0" smtClean="0"/>
                <a:t>Allows investigating different Measures and slicing them according to many dimensions</a:t>
              </a:r>
              <a:endParaRPr lang="he-IL" sz="1400" dirty="0"/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36313" y="2599192"/>
              <a:ext cx="805545" cy="844292"/>
            </a:xfrm>
            <a:prstGeom prst="rect">
              <a:avLst/>
            </a:prstGeom>
          </p:spPr>
        </p:pic>
      </p:grpSp>
      <p:pic>
        <p:nvPicPr>
          <p:cNvPr id="30" name="Picture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45165" y="155093"/>
            <a:ext cx="601074" cy="74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78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117"/>
          <p:cNvSpPr/>
          <p:nvPr/>
        </p:nvSpPr>
        <p:spPr>
          <a:xfrm>
            <a:off x="457200" y="1207485"/>
            <a:ext cx="7859293" cy="4426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2"/>
                </a:solidFill>
              </a:rPr>
              <a:t>Loading entire datasets into memory for online aggregation</a:t>
            </a:r>
          </a:p>
          <a:p>
            <a:pPr marL="342900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2"/>
                </a:solidFill>
              </a:rPr>
              <a:t>Provides ULTRA fast query response</a:t>
            </a:r>
          </a:p>
          <a:p>
            <a:pPr marL="342900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en-US" sz="2400" dirty="0" smtClean="0">
              <a:solidFill>
                <a:schemeClr val="bg2"/>
              </a:solidFill>
            </a:endParaRPr>
          </a:p>
          <a:p>
            <a:pPr marL="342900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b="1" dirty="0" smtClean="0">
                <a:solidFill>
                  <a:schemeClr val="bg2"/>
                </a:solidFill>
              </a:rPr>
              <a:t>The amount of data you can load in limited by the amount of RAM on the server</a:t>
            </a:r>
          </a:p>
          <a:p>
            <a:pPr marL="342900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en-US" sz="2400" dirty="0">
              <a:solidFill>
                <a:schemeClr val="bg2"/>
              </a:solidFill>
            </a:endParaRPr>
          </a:p>
          <a:p>
            <a:pPr marL="342900" indent="-342900">
              <a:spcBef>
                <a:spcPts val="1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2"/>
                </a:solidFill>
              </a:rPr>
              <a:t>Not all In-Memory databases are suitable for use with BI</a:t>
            </a:r>
            <a:endParaRPr lang="en-US" sz="2400" dirty="0">
              <a:solidFill>
                <a:schemeClr val="bg2"/>
              </a:solidFill>
            </a:endParaRPr>
          </a:p>
        </p:txBody>
      </p:sp>
      <p:sp>
        <p:nvSpPr>
          <p:cNvPr id="119" name="Title 1"/>
          <p:cNvSpPr>
            <a:spLocks noGrp="1"/>
          </p:cNvSpPr>
          <p:nvPr>
            <p:ph type="title"/>
          </p:nvPr>
        </p:nvSpPr>
        <p:spPr>
          <a:xfrm>
            <a:off x="457200" y="334171"/>
            <a:ext cx="8123238" cy="563562"/>
          </a:xfrm>
        </p:spPr>
        <p:txBody>
          <a:bodyPr/>
          <a:lstStyle/>
          <a:p>
            <a:pPr marL="0" lvl="1" algn="l" rtl="0">
              <a:spcBef>
                <a:spcPct val="0"/>
              </a:spcBef>
            </a:pPr>
            <a:r>
              <a:rPr lang="en-US" sz="22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n Memory Databases</a:t>
            </a:r>
            <a:endParaRPr lang="en-US" sz="2200" b="1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42256" y="156464"/>
            <a:ext cx="602513" cy="744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85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ployment scenarios</a:t>
            </a:r>
            <a:endParaRPr lang="en-US" dirty="0"/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1704627" y="5556161"/>
            <a:ext cx="597402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/>
        </p:nvCxnSpPr>
        <p:spPr>
          <a:xfrm flipH="1" flipV="1">
            <a:off x="1690136" y="1107822"/>
            <a:ext cx="14491" cy="444833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746150" y="5017128"/>
            <a:ext cx="1813942" cy="476938"/>
          </a:xfrm>
          <a:prstGeom prst="roundRect">
            <a:avLst/>
          </a:prstGeom>
          <a:solidFill>
            <a:srgbClr val="BBE0E3">
              <a:alpha val="5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anchor="ctr"/>
          <a:lstStyle/>
          <a:p>
            <a:pPr algn="ctr" eaLnBrk="1" hangingPunct="1">
              <a:defRPr/>
            </a:pPr>
            <a:r>
              <a:rPr lang="en-US" sz="2400" dirty="0" smtClean="0">
                <a:solidFill>
                  <a:schemeClr val="accent6"/>
                </a:solidFill>
              </a:rPr>
              <a:t>Local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899431" y="3763349"/>
            <a:ext cx="3046950" cy="1730717"/>
          </a:xfrm>
          <a:prstGeom prst="roundRect">
            <a:avLst/>
          </a:prstGeom>
          <a:solidFill>
            <a:srgbClr val="002060">
              <a:alpha val="50196"/>
            </a:srgb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dirty="0" smtClean="0"/>
              <a:t>In Memor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50195" y="2572987"/>
            <a:ext cx="615553" cy="1902762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algn="r" eaLnBrk="1" hangingPunct="1">
              <a:defRPr/>
            </a:pPr>
            <a:r>
              <a:rPr lang="hr-HR" sz="2800" dirty="0">
                <a:latin typeface="Arial" charset="0"/>
                <a:cs typeface="+mn-cs"/>
              </a:rPr>
              <a:t>Scalability*</a:t>
            </a:r>
            <a:endParaRPr lang="en-US" sz="2800" dirty="0">
              <a:latin typeface="Arial" charset="0"/>
              <a:cs typeface="+mn-cs"/>
            </a:endParaRPr>
          </a:p>
        </p:txBody>
      </p:sp>
      <p:sp>
        <p:nvSpPr>
          <p:cNvPr id="10" name="TextBox 12"/>
          <p:cNvSpPr txBox="1">
            <a:spLocks noChangeArrowheads="1"/>
          </p:cNvSpPr>
          <p:nvPr/>
        </p:nvSpPr>
        <p:spPr bwMode="auto">
          <a:xfrm>
            <a:off x="7560092" y="5356106"/>
            <a:ext cx="125544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pPr algn="r" eaLnBrk="1" hangingPunct="1"/>
            <a:r>
              <a:rPr lang="hr-HR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Usability</a:t>
            </a:r>
            <a:endParaRPr lang="en-US" altLang="en-US" sz="2000" dirty="0">
              <a:solidFill>
                <a:schemeClr val="tx1"/>
              </a:solidFill>
              <a:latin typeface="Arial" panose="020B0604020202020204" pitchFamily="34" charset="0"/>
              <a:ea typeface="Osaka"/>
              <a:cs typeface="Osaka"/>
            </a:endParaRP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898430" y="4850663"/>
            <a:ext cx="79170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pPr algn="r" eaLnBrk="1" hangingPunct="1"/>
            <a:r>
              <a:rPr lang="hr-HR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2 GB</a:t>
            </a:r>
            <a:endParaRPr lang="en-US" altLang="en-US" sz="2000" dirty="0">
              <a:solidFill>
                <a:schemeClr val="tx1"/>
              </a:solidFill>
              <a:latin typeface="Arial" panose="020B0604020202020204" pitchFamily="34" charset="0"/>
              <a:ea typeface="Osaka"/>
              <a:cs typeface="Osaka"/>
            </a:endParaRPr>
          </a:p>
        </p:txBody>
      </p:sp>
      <p:sp>
        <p:nvSpPr>
          <p:cNvPr id="12" name="TextBox 14"/>
          <p:cNvSpPr txBox="1">
            <a:spLocks noChangeArrowheads="1"/>
          </p:cNvSpPr>
          <p:nvPr/>
        </p:nvSpPr>
        <p:spPr bwMode="auto">
          <a:xfrm>
            <a:off x="619126" y="3739568"/>
            <a:ext cx="105915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pPr algn="r" eaLnBrk="1" hangingPunct="1"/>
            <a:r>
              <a:rPr lang="en-US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500 </a:t>
            </a:r>
            <a:r>
              <a:rPr lang="hr-HR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GB</a:t>
            </a:r>
            <a:endParaRPr lang="en-US" altLang="en-US" sz="2000" dirty="0">
              <a:solidFill>
                <a:schemeClr val="tx1"/>
              </a:solidFill>
              <a:latin typeface="Arial" panose="020B0604020202020204" pitchFamily="34" charset="0"/>
              <a:ea typeface="Osaka"/>
              <a:cs typeface="Osaka"/>
            </a:endParaRPr>
          </a:p>
        </p:txBody>
      </p:sp>
      <p:sp>
        <p:nvSpPr>
          <p:cNvPr id="13" name="TextBox 15"/>
          <p:cNvSpPr txBox="1">
            <a:spLocks noChangeArrowheads="1"/>
          </p:cNvSpPr>
          <p:nvPr/>
        </p:nvSpPr>
        <p:spPr bwMode="auto">
          <a:xfrm>
            <a:off x="944536" y="2406521"/>
            <a:ext cx="716619" cy="332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pPr algn="r" eaLnBrk="1" hangingPunct="1"/>
            <a:r>
              <a:rPr lang="hr-HR" altLang="en-US" sz="200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5 TB</a:t>
            </a:r>
            <a:endParaRPr lang="en-US" altLang="en-US" sz="2000" dirty="0">
              <a:solidFill>
                <a:schemeClr val="tx1"/>
              </a:solidFill>
              <a:latin typeface="Arial" panose="020B0604020202020204" pitchFamily="34" charset="0"/>
              <a:ea typeface="Osaka"/>
              <a:cs typeface="Osaka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1763947" y="2189221"/>
            <a:ext cx="537773" cy="1522619"/>
          </a:xfrm>
          <a:prstGeom prst="roundRect">
            <a:avLst/>
          </a:prstGeom>
          <a:solidFill>
            <a:srgbClr val="BBE0E3">
              <a:alpha val="5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0000" tIns="252000" anchor="ctr"/>
          <a:lstStyle/>
          <a:p>
            <a:pPr algn="ctr" eaLnBrk="1" hangingPunct="1">
              <a:defRPr/>
            </a:pPr>
            <a:r>
              <a:rPr lang="hr-HR" sz="2400" dirty="0">
                <a:solidFill>
                  <a:schemeClr val="accent6"/>
                </a:solidFill>
              </a:rPr>
              <a:t>ROLAP</a:t>
            </a: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16" name="TextBox 18"/>
          <p:cNvSpPr txBox="1">
            <a:spLocks noChangeArrowheads="1"/>
          </p:cNvSpPr>
          <p:nvPr/>
        </p:nvSpPr>
        <p:spPr bwMode="auto">
          <a:xfrm>
            <a:off x="716990" y="1484352"/>
            <a:ext cx="89937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pPr algn="r" eaLnBrk="1" hangingPunct="1"/>
            <a:r>
              <a:rPr lang="hr-HR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50 TB</a:t>
            </a:r>
            <a:endParaRPr lang="en-US" altLang="en-US" sz="2000" dirty="0">
              <a:solidFill>
                <a:schemeClr val="tx1"/>
              </a:solidFill>
              <a:latin typeface="Arial" panose="020B0604020202020204" pitchFamily="34" charset="0"/>
              <a:ea typeface="Osaka"/>
              <a:cs typeface="Osaka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763906" y="1298069"/>
            <a:ext cx="537465" cy="1274918"/>
          </a:xfrm>
          <a:prstGeom prst="roundRect">
            <a:avLst/>
          </a:prstGeom>
          <a:solidFill>
            <a:srgbClr val="000000">
              <a:alpha val="50196"/>
            </a:srgb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1620000" anchor="ctr"/>
          <a:lstStyle/>
          <a:p>
            <a:pPr algn="ctr" eaLnBrk="1" hangingPunct="1">
              <a:defRPr/>
            </a:pPr>
            <a:r>
              <a:rPr lang="en-US" sz="1400" dirty="0">
                <a:solidFill>
                  <a:schemeClr val="accent6"/>
                </a:solidFill>
              </a:rPr>
              <a:t>     	  </a:t>
            </a:r>
            <a:r>
              <a:rPr lang="hr-HR" sz="1600" dirty="0">
                <a:solidFill>
                  <a:schemeClr val="accent6"/>
                </a:solidFill>
              </a:rPr>
              <a:t>ColumnStore</a:t>
            </a:r>
            <a:endParaRPr lang="en-US" sz="1600" dirty="0">
              <a:solidFill>
                <a:schemeClr val="accent6"/>
              </a:solidFill>
            </a:endParaRPr>
          </a:p>
        </p:txBody>
      </p:sp>
      <p:sp>
        <p:nvSpPr>
          <p:cNvPr id="18" name="TextBox 21"/>
          <p:cNvSpPr txBox="1">
            <a:spLocks noChangeArrowheads="1"/>
          </p:cNvSpPr>
          <p:nvPr/>
        </p:nvSpPr>
        <p:spPr bwMode="auto">
          <a:xfrm>
            <a:off x="4027403" y="1334173"/>
            <a:ext cx="4907047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1pPr>
            <a:lvl2pPr marL="742950" indent="-28575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2pPr>
            <a:lvl3pPr marL="11430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3pPr>
            <a:lvl4pPr marL="16002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4pPr>
            <a:lvl5pPr marL="2057400" indent="-228600" algn="ctr"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14141"/>
                </a:solidFill>
                <a:latin typeface="Gill Sans Light" charset="0"/>
                <a:ea typeface="ヒラギノ角ゴ ProN W3" charset="0"/>
                <a:cs typeface="ヒラギノ角ゴ ProN W3" charset="0"/>
                <a:sym typeface="Gill Sans Light" charset="0"/>
              </a:defRPr>
            </a:lvl9pPr>
          </a:lstStyle>
          <a:p>
            <a:pPr algn="l" eaLnBrk="1" hangingPunct="1"/>
            <a:r>
              <a:rPr lang="en-US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*</a:t>
            </a:r>
            <a:r>
              <a:rPr lang="hr-HR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Scalability=</a:t>
            </a:r>
          </a:p>
          <a:p>
            <a:pPr algn="l" eaLnBrk="1" hangingPunct="1"/>
            <a:r>
              <a:rPr lang="hr-HR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     - good support for concurrent queries</a:t>
            </a:r>
          </a:p>
          <a:p>
            <a:pPr algn="l" eaLnBrk="1" hangingPunct="1"/>
            <a:r>
              <a:rPr lang="hr-HR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     - not dependent on available memory</a:t>
            </a:r>
          </a:p>
          <a:p>
            <a:pPr algn="l" eaLnBrk="1" hangingPunct="1"/>
            <a:r>
              <a:rPr lang="hr-HR" altLang="en-US" sz="2000" dirty="0">
                <a:solidFill>
                  <a:schemeClr val="tx1"/>
                </a:solidFill>
                <a:latin typeface="Arial" panose="020B0604020202020204" pitchFamily="34" charset="0"/>
                <a:ea typeface="Osaka"/>
                <a:cs typeface="Osaka"/>
              </a:rPr>
              <a:t>     - good maintainability</a:t>
            </a:r>
            <a:endParaRPr lang="en-US" altLang="en-US" sz="2000" dirty="0">
              <a:solidFill>
                <a:schemeClr val="tx1"/>
              </a:solidFill>
              <a:latin typeface="Arial" panose="020B0604020202020204" pitchFamily="34" charset="0"/>
              <a:ea typeface="Osaka"/>
              <a:cs typeface="Osaka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763906" y="3226094"/>
            <a:ext cx="1510960" cy="2270613"/>
          </a:xfrm>
          <a:prstGeom prst="roundRect">
            <a:avLst/>
          </a:prstGeom>
          <a:solidFill>
            <a:srgbClr val="0070C0">
              <a:alpha val="50196"/>
            </a:srgb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anchor="ctr"/>
          <a:lstStyle/>
          <a:p>
            <a:pPr algn="ctr" eaLnBrk="1" hangingPunct="1">
              <a:defRPr/>
            </a:pPr>
            <a:r>
              <a:rPr lang="hr-HR" sz="2800" dirty="0"/>
              <a:t>MOLAP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719094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  <p:bldP spid="11" grpId="0"/>
      <p:bldP spid="12" grpId="0"/>
      <p:bldP spid="13" grpId="0"/>
      <p:bldP spid="15" grpId="0" animBg="1"/>
      <p:bldP spid="16" grpId="0"/>
      <p:bldP spid="17" grpId="0" animBg="1"/>
      <p:bldP spid="18" grpId="0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Data warehousing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57200" y="1165077"/>
            <a:ext cx="7772400" cy="1228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28650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1258888" algn="l"/>
              </a:tabLst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73138" indent="-331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58888" indent="-24923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43050" indent="-27305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ctr">
              <a:buFont typeface="Arial" panose="020B0604020202020204" pitchFamily="34" charset="0"/>
              <a:buChar char="•"/>
              <a:defRPr/>
            </a:pPr>
            <a:endParaRPr lang="en-US" dirty="0" smtClean="0"/>
          </a:p>
          <a:p>
            <a:pPr>
              <a:defRPr/>
            </a:pPr>
            <a:r>
              <a:rPr lang="en-US" sz="2800" dirty="0" smtClean="0"/>
              <a:t>Definition of BI:</a:t>
            </a:r>
          </a:p>
          <a:p>
            <a:pPr>
              <a:defRPr/>
            </a:pPr>
            <a:endParaRPr lang="en-US" sz="2800" dirty="0" smtClean="0"/>
          </a:p>
          <a:p>
            <a:pPr marL="285750" lvl="1" indent="-285750">
              <a:spcBef>
                <a:spcPts val="1000"/>
              </a:spcBef>
              <a:tabLst/>
              <a:defRPr/>
            </a:pPr>
            <a:r>
              <a:rPr lang="en-US" sz="3200" dirty="0"/>
              <a:t>The process of turning </a:t>
            </a:r>
            <a:r>
              <a:rPr lang="en-US" sz="3200" b="1" dirty="0"/>
              <a:t>data</a:t>
            </a:r>
            <a:r>
              <a:rPr lang="en-US" sz="3200" dirty="0"/>
              <a:t> into meaningful </a:t>
            </a:r>
            <a:r>
              <a:rPr lang="en-US" sz="3200" b="1" dirty="0"/>
              <a:t>information</a:t>
            </a:r>
            <a:r>
              <a:rPr lang="en-US" sz="3200" dirty="0"/>
              <a:t> that provide </a:t>
            </a:r>
            <a:r>
              <a:rPr lang="en-US" sz="3200" b="1" dirty="0"/>
              <a:t>insight</a:t>
            </a:r>
            <a:r>
              <a:rPr lang="en-US" sz="3200" dirty="0"/>
              <a:t> and drives to </a:t>
            </a:r>
            <a:r>
              <a:rPr lang="en-US" sz="3200" b="1" dirty="0"/>
              <a:t>action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922339163"/>
              </p:ext>
            </p:extLst>
          </p:nvPr>
        </p:nvGraphicFramePr>
        <p:xfrm>
          <a:off x="457200" y="4499971"/>
          <a:ext cx="8258628" cy="15276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1959222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- Reporting VS. Analytics</a:t>
            </a:r>
            <a:endParaRPr lang="en-US" dirty="0"/>
          </a:p>
        </p:txBody>
      </p:sp>
      <p:sp>
        <p:nvSpPr>
          <p:cNvPr id="26" name="Rectangle 25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16205" y="1999933"/>
            <a:ext cx="4389120" cy="306237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1148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Combining data from many sources into a unified model</a:t>
            </a:r>
            <a:endParaRPr lang="he-IL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Separation to Facts and Dimensions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Pre-Calculated aggregations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Supports Analysis of large amounts of data</a:t>
            </a:r>
            <a:endParaRPr lang="he-IL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Simple design – to support easy query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Intended for employs but also to decision makers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</p:txBody>
      </p:sp>
      <p:sp>
        <p:nvSpPr>
          <p:cNvPr id="27" name="Rectangle 26"/>
          <p:cNvSpPr/>
          <p:nvPr>
            <p:custDataLst>
              <p:tags r:id="rId2"/>
            </p:custDataLst>
          </p:nvPr>
        </p:nvSpPr>
        <p:spPr bwMode="auto">
          <a:xfrm>
            <a:off x="116205" y="1999933"/>
            <a:ext cx="4389120" cy="40010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914023"/>
            <a:r>
              <a:rPr lang="en-US" sz="2000" dirty="0" smtClean="0"/>
              <a:t>Analytics</a:t>
            </a:r>
            <a:endParaRPr lang="en-US" sz="2000" dirty="0"/>
          </a:p>
        </p:txBody>
      </p:sp>
      <p:sp>
        <p:nvSpPr>
          <p:cNvPr id="28" name="Rectangle 27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640580" y="1999933"/>
            <a:ext cx="4389120" cy="306237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1148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Can be implemented directly on top of the OLTP</a:t>
            </a:r>
            <a:endParaRPr lang="he-IL" sz="1600" dirty="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No facts and Dimension – Only tables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On the fly - long running queries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High Granularity of data – difficult to grasp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Normalized (complex) table structure</a:t>
            </a:r>
            <a:endParaRPr lang="he-IL" sz="1600" dirty="0" smtClean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  <a:p>
            <a:pPr marL="234950" lvl="3" indent="-234950" defTabSz="1218615" fontAlgn="base">
              <a:spcBef>
                <a:spcPts val="6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alpha val="99000"/>
                  </a:schemeClr>
                </a:solidFill>
                <a:cs typeface="Segoe UI" pitchFamily="34" charset="0"/>
              </a:rPr>
              <a:t>Provides operational data for mid-management and employees</a:t>
            </a:r>
            <a:endParaRPr lang="en-US" sz="1600" dirty="0">
              <a:solidFill>
                <a:schemeClr val="bg1">
                  <a:alpha val="99000"/>
                </a:schemeClr>
              </a:solidFill>
              <a:cs typeface="Segoe UI" pitchFamily="34" charset="0"/>
            </a:endParaRPr>
          </a:p>
        </p:txBody>
      </p:sp>
      <p:sp>
        <p:nvSpPr>
          <p:cNvPr id="29" name="Rectangle 28"/>
          <p:cNvSpPr/>
          <p:nvPr>
            <p:custDataLst>
              <p:tags r:id="rId4"/>
            </p:custDataLst>
          </p:nvPr>
        </p:nvSpPr>
        <p:spPr bwMode="auto">
          <a:xfrm>
            <a:off x="4640580" y="1999932"/>
            <a:ext cx="4389120" cy="400105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914023"/>
            <a:r>
              <a:rPr lang="en-US" sz="2000" dirty="0" smtClean="0"/>
              <a:t>Reporting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13000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porting VS. Analytics</a:t>
            </a:r>
            <a:br>
              <a:rPr lang="en-US" dirty="0" smtClean="0"/>
            </a:br>
            <a:r>
              <a:rPr lang="en-US" dirty="0" smtClean="0"/>
              <a:t>Types of Information Systems 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628116" y="1625081"/>
            <a:ext cx="4725159" cy="960120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dirty="0" smtClean="0">
                <a:solidFill>
                  <a:schemeClr val="bg1">
                    <a:alpha val="99000"/>
                  </a:schemeClr>
                </a:solidFill>
              </a:rPr>
              <a:t>Functionality</a:t>
            </a:r>
            <a:endParaRPr lang="en-US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427860" y="1625081"/>
            <a:ext cx="3246120" cy="411480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dirty="0" smtClean="0">
                <a:solidFill>
                  <a:schemeClr val="bg1">
                    <a:alpha val="99000"/>
                  </a:schemeClr>
                </a:solidFill>
              </a:rPr>
              <a:t>Type of IS </a:t>
            </a:r>
            <a:endParaRPr lang="en-US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5427860" y="2082281"/>
            <a:ext cx="1079550" cy="502920"/>
          </a:xfrm>
          <a:prstGeom prst="rect">
            <a:avLst/>
          </a:prstGeom>
          <a:solidFill>
            <a:srgbClr val="880A1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45720" tIns="45718" rIns="4572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1200" dirty="0" smtClean="0">
                <a:solidFill>
                  <a:schemeClr val="bg1">
                    <a:alpha val="99000"/>
                  </a:schemeClr>
                </a:solidFill>
              </a:rPr>
              <a:t>OLTP</a:t>
            </a:r>
            <a:endParaRPr lang="en-US" sz="1200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6535970" y="2082281"/>
            <a:ext cx="1051560" cy="502920"/>
          </a:xfrm>
          <a:prstGeom prst="rect">
            <a:avLst/>
          </a:prstGeom>
          <a:solidFill>
            <a:srgbClr val="464646"/>
          </a:solidFill>
          <a:ln>
            <a:solidFill>
              <a:srgbClr val="6B60A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45720" tIns="45718" rIns="4572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1200" spc="-40" dirty="0" smtClean="0">
                <a:solidFill>
                  <a:schemeClr val="bg1">
                    <a:alpha val="99000"/>
                  </a:schemeClr>
                </a:solidFill>
              </a:rPr>
              <a:t>DWH</a:t>
            </a:r>
            <a:endParaRPr lang="en-US" sz="1200" spc="-40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7616090" y="2082281"/>
            <a:ext cx="1051560" cy="502920"/>
          </a:xfrm>
          <a:prstGeom prst="rect">
            <a:avLst/>
          </a:prstGeom>
          <a:solidFill>
            <a:srgbClr val="443D6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45720" tIns="45718" rIns="4572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1200" dirty="0" smtClean="0">
                <a:solidFill>
                  <a:schemeClr val="bg1">
                    <a:alpha val="99000"/>
                  </a:schemeClr>
                </a:solidFill>
              </a:rPr>
              <a:t>OLAP / </a:t>
            </a:r>
          </a:p>
          <a:p>
            <a:pPr algn="ctr" defTabSz="914023"/>
            <a:r>
              <a:rPr lang="en-US" sz="1200" dirty="0" smtClean="0">
                <a:solidFill>
                  <a:schemeClr val="bg1">
                    <a:alpha val="99000"/>
                  </a:schemeClr>
                </a:solidFill>
              </a:rPr>
              <a:t>In Memory</a:t>
            </a:r>
            <a:endParaRPr lang="en-US" sz="1200" dirty="0">
              <a:solidFill>
                <a:schemeClr val="bg1">
                  <a:alpha val="99000"/>
                </a:schemeClr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056941"/>
              </p:ext>
            </p:extLst>
          </p:nvPr>
        </p:nvGraphicFramePr>
        <p:xfrm>
          <a:off x="628116" y="2585201"/>
          <a:ext cx="8045864" cy="301752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789918"/>
                <a:gridCol w="1093861"/>
                <a:gridCol w="1110954"/>
                <a:gridCol w="1051131"/>
              </a:tblGrid>
              <a:tr h="176866">
                <a:tc>
                  <a:txBody>
                    <a:bodyPr/>
                    <a:lstStyle/>
                    <a:p>
                      <a:pPr marL="0" marR="0" indent="0" algn="l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ain Requirement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dirty="0" smtClean="0">
                          <a:ln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ork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dirty="0" smtClean="0">
                          <a:ln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dirty="0" smtClean="0">
                          <a:ln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alysis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866">
                <a:tc>
                  <a:txBody>
                    <a:bodyPr/>
                    <a:lstStyle/>
                    <a:p>
                      <a:pPr marL="0" algn="l" defTabSz="914363" rtl="1" eaLnBrk="1" latinLnBrk="0" hangingPunct="1"/>
                      <a:r>
                        <a:rPr lang="en-US" sz="1200" b="0" kern="120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ase</a:t>
                      </a:r>
                      <a:r>
                        <a:rPr lang="en-US" sz="1200" b="0" kern="1200" baseline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866">
                <a:tc>
                  <a:txBody>
                    <a:bodyPr/>
                    <a:lstStyle/>
                    <a:p>
                      <a:pPr marL="0" algn="l" defTabSz="914363" rtl="1" eaLnBrk="1" latinLnBrk="0" hangingPunct="1"/>
                      <a:r>
                        <a:rPr lang="en-US" sz="1200" b="0" kern="120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alytical Information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866">
                <a:tc>
                  <a:txBody>
                    <a:bodyPr/>
                    <a:lstStyle/>
                    <a:p>
                      <a:pPr marL="0" algn="l" defTabSz="914363" rtl="1" eaLnBrk="1" latinLnBrk="0" hangingPunct="1"/>
                      <a:r>
                        <a:rPr lang="en-US" sz="1200" b="0" kern="120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 ability to aggregate large amounts of data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866">
                <a:tc>
                  <a:txBody>
                    <a:bodyPr/>
                    <a:lstStyle/>
                    <a:p>
                      <a:pPr marL="0" algn="l" defTabSz="914363" rtl="1" eaLnBrk="1" latinLnBrk="0" hangingPunct="1"/>
                      <a:r>
                        <a:rPr lang="en-US" sz="1200" b="0" kern="120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a Arranged by subjects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866">
                <a:tc>
                  <a:txBody>
                    <a:bodyPr/>
                    <a:lstStyle/>
                    <a:p>
                      <a:pPr marL="0" algn="l" defTabSz="914363" rtl="1" eaLnBrk="1" latinLnBrk="0" hangingPunct="1"/>
                      <a:r>
                        <a:rPr lang="en-US" sz="1200" b="0" kern="120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istorical Data analysis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866">
                <a:tc>
                  <a:txBody>
                    <a:bodyPr/>
                    <a:lstStyle/>
                    <a:p>
                      <a:pPr marL="0" marR="0" indent="0" algn="l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he ability to work and save high grain level of data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866">
                <a:tc>
                  <a:txBody>
                    <a:bodyPr/>
                    <a:lstStyle/>
                    <a:p>
                      <a:pPr marL="0" marR="0" indent="0" algn="l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ln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viding</a:t>
                      </a:r>
                      <a:r>
                        <a:rPr lang="en-US" sz="1200" b="0" kern="1200" baseline="0" dirty="0" smtClean="0">
                          <a:ln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operational reports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63" rtl="1" eaLnBrk="1" latinLnBrk="0" hangingPunct="1"/>
                      <a:endParaRPr lang="en-US" sz="1200" b="0" kern="1200" dirty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866">
                <a:tc>
                  <a:txBody>
                    <a:bodyPr/>
                    <a:lstStyle/>
                    <a:p>
                      <a:pPr marL="0" algn="l" defTabSz="914363" rtl="1" eaLnBrk="1" latinLnBrk="0" hangingPunct="1"/>
                      <a:r>
                        <a:rPr lang="en-US" sz="1200" b="0" kern="120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rending, Forecasting</a:t>
                      </a:r>
                      <a:r>
                        <a:rPr lang="en-US" sz="1200" b="0" kern="1200" baseline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d advanced data modeling</a:t>
                      </a:r>
                      <a:endParaRPr lang="en-US" sz="1200" b="0" kern="1200" dirty="0">
                        <a:ln w="9525"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3372">
                <a:tc>
                  <a:txBody>
                    <a:bodyPr/>
                    <a:lstStyle/>
                    <a:p>
                      <a:pPr marL="0" algn="l" defTabSz="914363" rtl="1" eaLnBrk="1" latinLnBrk="0" hangingPunct="1"/>
                      <a:r>
                        <a:rPr lang="en-US" sz="1200" b="0" kern="1200" dirty="0" smtClean="0">
                          <a:ln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avigation in hierarchies, Time intelligence</a:t>
                      </a:r>
                      <a:endParaRPr lang="en-US" sz="1200" b="0" kern="1200" dirty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noProof="0" dirty="0" smtClean="0">
                          <a:ln w="9525">
                            <a:noFill/>
                          </a:ln>
                          <a:solidFill>
                            <a:schemeClr val="tx1"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</a:t>
                      </a: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866">
                <a:tc>
                  <a:txBody>
                    <a:bodyPr/>
                    <a:lstStyle/>
                    <a:p>
                      <a:pPr marL="0" algn="r" defTabSz="914363" rtl="1" eaLnBrk="1" latinLnBrk="0" hangingPunct="1"/>
                      <a:endParaRPr lang="en-US" sz="1200" b="0" kern="1200" dirty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63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363" rtl="1" eaLnBrk="1" latinLnBrk="0" hangingPunct="1"/>
                      <a:endParaRPr lang="en-US" sz="1200" b="0" kern="1200" dirty="0">
                        <a:ln>
                          <a:noFill/>
                        </a:ln>
                        <a:solidFill>
                          <a:schemeClr val="tx1"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Rounded Rectangle 16"/>
          <p:cNvSpPr/>
          <p:nvPr/>
        </p:nvSpPr>
        <p:spPr bwMode="auto">
          <a:xfrm>
            <a:off x="5427860" y="2096593"/>
            <a:ext cx="1468596" cy="3744416"/>
          </a:xfrm>
          <a:prstGeom prst="roundRect">
            <a:avLst/>
          </a:prstGeom>
          <a:solidFill>
            <a:srgbClr val="282E82">
              <a:alpha val="62000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</a:rPr>
              <a:t>R</a:t>
            </a:r>
            <a:r>
              <a:rPr lang="en-US" b="1" dirty="0" smtClean="0">
                <a:solidFill>
                  <a:srgbClr val="FFFFFF"/>
                </a:solidFill>
              </a:rPr>
              <a:t>eporting</a:t>
            </a:r>
            <a:endParaRPr kumimoji="0" lang="he-IL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6896456" y="2096983"/>
            <a:ext cx="1771194" cy="3744416"/>
          </a:xfrm>
          <a:prstGeom prst="roundRect">
            <a:avLst/>
          </a:prstGeom>
          <a:solidFill>
            <a:srgbClr val="880A1F">
              <a:alpha val="62000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srgbClr val="FFFFFF"/>
                </a:solidFill>
              </a:rPr>
              <a:t>Analysis</a:t>
            </a:r>
            <a:endParaRPr kumimoji="0" lang="he-IL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570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53159" y="3224163"/>
            <a:ext cx="832727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</a:rPr>
              <a:t>Future of the DWH and its place in the Big Data World </a:t>
            </a:r>
          </a:p>
        </p:txBody>
      </p:sp>
    </p:spTree>
    <p:extLst>
      <p:ext uri="{BB962C8B-B14F-4D97-AF65-F5344CB8AC3E}">
        <p14:creationId xmlns:p14="http://schemas.microsoft.com/office/powerpoint/2010/main" val="3866787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numbers</a:t>
            </a:r>
            <a:endParaRPr lang="en-US" dirty="0"/>
          </a:p>
        </p:txBody>
      </p:sp>
      <p:graphicFrame>
        <p:nvGraphicFramePr>
          <p:cNvPr id="10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27931737"/>
              </p:ext>
            </p:extLst>
          </p:nvPr>
        </p:nvGraphicFramePr>
        <p:xfrm>
          <a:off x="179388" y="836712"/>
          <a:ext cx="8785225" cy="5256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1" name="YouTube Logo" descr="http://s.ytimg.com/yt/img/logos/youtube_logo_standard_againstwhite-vflKoO81_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851" y="4232052"/>
            <a:ext cx="2195281" cy="800229"/>
          </a:xfrm>
          <a:prstGeom prst="rect">
            <a:avLst/>
          </a:prstGeom>
          <a:noFill/>
          <a:effectLst/>
          <a:scene3d>
            <a:camera prst="isometricLeftDown">
              <a:rot lat="2086708" lon="510225" rev="21246237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Twitter Logo" descr="http://www.localsplash.com/wp-content/uploads/2012/01/twitter-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9480" y="4077072"/>
            <a:ext cx="827360" cy="827359"/>
          </a:xfrm>
          <a:prstGeom prst="rect">
            <a:avLst/>
          </a:prstGeom>
          <a:noFill/>
          <a:effectLst/>
          <a:scene3d>
            <a:camera prst="isometricLeftDown">
              <a:rot lat="2086708" lon="510225" rev="21246237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Facebook Logo" descr="http://simplyzesty.com/wp-content/uploads/2011/09/facebook-logo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887" y="2705309"/>
            <a:ext cx="1219201" cy="1219200"/>
          </a:xfrm>
          <a:prstGeom prst="rect">
            <a:avLst/>
          </a:prstGeom>
          <a:noFill/>
          <a:effectLst/>
          <a:scene3d>
            <a:camera prst="isometricLeftDown">
              <a:rot lat="2086708" lon="510225" rev="21246237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Flicker Logo" descr="Flickr logo badge, on white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925" y="2159751"/>
            <a:ext cx="903845" cy="391666"/>
          </a:xfrm>
          <a:prstGeom prst="rect">
            <a:avLst/>
          </a:prstGeom>
          <a:noFill/>
          <a:effectLst/>
          <a:scene3d>
            <a:camera prst="isometricLeftDown">
              <a:rot lat="2086708" lon="510225" rev="21246237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70165" y="1246686"/>
            <a:ext cx="4714752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accent1"/>
                </a:solidFill>
              </a:rPr>
              <a:t>Can a Datawarehouse </a:t>
            </a:r>
          </a:p>
          <a:p>
            <a:r>
              <a:rPr lang="en-US" sz="2800" b="1" dirty="0">
                <a:solidFill>
                  <a:schemeClr val="accent1"/>
                </a:solidFill>
              </a:rPr>
              <a:t>really handle that?</a:t>
            </a:r>
          </a:p>
        </p:txBody>
      </p:sp>
    </p:spTree>
    <p:extLst>
      <p:ext uri="{BB962C8B-B14F-4D97-AF65-F5344CB8AC3E}">
        <p14:creationId xmlns:p14="http://schemas.microsoft.com/office/powerpoint/2010/main" val="463119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e are many new technologies</a:t>
            </a:r>
            <a:endParaRPr lang="en-US" dirty="0"/>
          </a:p>
        </p:txBody>
      </p:sp>
      <p:sp>
        <p:nvSpPr>
          <p:cNvPr id="7" name="Rectangle 6"/>
          <p:cNvSpPr/>
          <p:nvPr>
            <p:custDataLst>
              <p:tags r:id="rId1"/>
            </p:custDataLst>
          </p:nvPr>
        </p:nvSpPr>
        <p:spPr bwMode="auto">
          <a:xfrm>
            <a:off x="467544" y="5833725"/>
            <a:ext cx="5832648" cy="35301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endParaRPr lang="en-US" sz="2800" dirty="0" smtClean="0">
              <a:solidFill>
                <a:srgbClr val="732B8F">
                  <a:alpha val="99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856" y="1381080"/>
            <a:ext cx="7019925" cy="46291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707904" y="980728"/>
            <a:ext cx="191296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0" b="1" dirty="0" smtClean="0">
                <a:solidFill>
                  <a:srgbClr val="C00000"/>
                </a:solidFill>
                <a:latin typeface="Gisha" pitchFamily="34" charset="-79"/>
                <a:cs typeface="Gisha" pitchFamily="34" charset="-79"/>
              </a:rPr>
              <a:t>?</a:t>
            </a:r>
            <a:endParaRPr lang="he-IL" sz="30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42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 world before Big Data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248147" y="1933575"/>
            <a:ext cx="1294400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tructured</a:t>
            </a:r>
          </a:p>
          <a:p>
            <a:pPr algn="ctr"/>
            <a:r>
              <a:rPr lang="en-US" sz="1400" dirty="0" smtClean="0"/>
              <a:t>Data</a:t>
            </a:r>
            <a:endParaRPr lang="en-US" sz="1400" dirty="0"/>
          </a:p>
        </p:txBody>
      </p:sp>
      <p:sp>
        <p:nvSpPr>
          <p:cNvPr id="5" name="Rectangle 4"/>
          <p:cNvSpPr/>
          <p:nvPr/>
        </p:nvSpPr>
        <p:spPr>
          <a:xfrm>
            <a:off x="4248147" y="2695574"/>
            <a:ext cx="1294400" cy="272817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oly-Structured</a:t>
            </a:r>
          </a:p>
          <a:p>
            <a:pPr algn="ctr"/>
            <a:r>
              <a:rPr lang="en-US" sz="1400" dirty="0" smtClean="0"/>
              <a:t>Data</a:t>
            </a:r>
            <a:endParaRPr lang="en-US" sz="1400" dirty="0"/>
          </a:p>
        </p:txBody>
      </p:sp>
      <p:sp>
        <p:nvSpPr>
          <p:cNvPr id="6" name="Rectangle 5"/>
          <p:cNvSpPr/>
          <p:nvPr/>
        </p:nvSpPr>
        <p:spPr>
          <a:xfrm>
            <a:off x="5694947" y="1933575"/>
            <a:ext cx="3060032" cy="6096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ables, Records, CSV etc.</a:t>
            </a:r>
            <a:endParaRPr lang="en-US" sz="1400" dirty="0"/>
          </a:p>
        </p:txBody>
      </p:sp>
      <p:sp>
        <p:nvSpPr>
          <p:cNvPr id="7" name="Rectangle 6"/>
          <p:cNvSpPr/>
          <p:nvPr/>
        </p:nvSpPr>
        <p:spPr>
          <a:xfrm>
            <a:off x="5694947" y="2695575"/>
            <a:ext cx="1447800" cy="6096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og Files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5694947" y="3401431"/>
            <a:ext cx="1447800" cy="6096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ocial Data</a:t>
            </a:r>
            <a:endParaRPr lang="en-US" sz="1400" dirty="0"/>
          </a:p>
        </p:txBody>
      </p:sp>
      <p:sp>
        <p:nvSpPr>
          <p:cNvPr id="9" name="Rectangle 8"/>
          <p:cNvSpPr/>
          <p:nvPr/>
        </p:nvSpPr>
        <p:spPr>
          <a:xfrm>
            <a:off x="5694947" y="4107792"/>
            <a:ext cx="1447800" cy="6096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Machine Data</a:t>
            </a:r>
            <a:endParaRPr lang="en-US" sz="1400" dirty="0"/>
          </a:p>
        </p:txBody>
      </p:sp>
      <p:sp>
        <p:nvSpPr>
          <p:cNvPr id="10" name="Rectangle 9"/>
          <p:cNvSpPr/>
          <p:nvPr/>
        </p:nvSpPr>
        <p:spPr>
          <a:xfrm>
            <a:off x="5694947" y="4814153"/>
            <a:ext cx="1447800" cy="6096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ext, Image, Video</a:t>
            </a:r>
            <a:endParaRPr lang="en-US" sz="1400" dirty="0"/>
          </a:p>
        </p:txBody>
      </p:sp>
      <p:sp>
        <p:nvSpPr>
          <p:cNvPr id="11" name="Rectangle 10"/>
          <p:cNvSpPr/>
          <p:nvPr/>
        </p:nvSpPr>
        <p:spPr>
          <a:xfrm>
            <a:off x="7295147" y="2695575"/>
            <a:ext cx="1452272" cy="2728179"/>
          </a:xfrm>
          <a:prstGeom prst="rect">
            <a:avLst/>
          </a:prstGeom>
          <a:solidFill>
            <a:srgbClr val="464646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New insights with Big Data Technology</a:t>
            </a:r>
            <a:endParaRPr lang="en-US" sz="1400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0"/>
          </p:nvPr>
        </p:nvSpPr>
        <p:spPr>
          <a:xfrm>
            <a:off x="180990" y="1164022"/>
            <a:ext cx="3914757" cy="4817678"/>
          </a:xfrm>
        </p:spPr>
        <p:txBody>
          <a:bodyPr/>
          <a:lstStyle/>
          <a:p>
            <a:r>
              <a:rPr lang="en-US" sz="2400" dirty="0" smtClean="0"/>
              <a:t>Structured Data</a:t>
            </a:r>
          </a:p>
          <a:p>
            <a:pPr marL="628650" lvl="1" indent="-342900"/>
            <a:r>
              <a:rPr lang="en-US" dirty="0" smtClean="0"/>
              <a:t>Relational Databases</a:t>
            </a:r>
          </a:p>
          <a:p>
            <a:pPr marL="628650" lvl="1" indent="-342900"/>
            <a:r>
              <a:rPr lang="en-US" dirty="0" smtClean="0"/>
              <a:t>Analytical Databases</a:t>
            </a:r>
          </a:p>
          <a:p>
            <a:pPr marL="0" indent="0"/>
            <a:r>
              <a:rPr lang="en-US" sz="2400" dirty="0" smtClean="0"/>
              <a:t>Poly</a:t>
            </a:r>
            <a:r>
              <a:rPr lang="en-US" sz="2400" b="1" dirty="0" smtClean="0">
                <a:solidFill>
                  <a:schemeClr val="accent1"/>
                </a:solidFill>
              </a:rPr>
              <a:t>-Structured Data</a:t>
            </a:r>
          </a:p>
          <a:p>
            <a:pPr marL="628650" lvl="1" indent="-342900"/>
            <a:r>
              <a:rPr lang="en-US" dirty="0" smtClean="0"/>
              <a:t>Transform </a:t>
            </a:r>
            <a:r>
              <a:rPr lang="en-US" dirty="0"/>
              <a:t>into </a:t>
            </a:r>
            <a:r>
              <a:rPr lang="en-US" dirty="0" smtClean="0"/>
              <a:t>structured</a:t>
            </a:r>
          </a:p>
          <a:p>
            <a:pPr marL="628650" lvl="1" indent="-342900"/>
            <a:r>
              <a:rPr lang="en-US" dirty="0" smtClean="0"/>
              <a:t>Expensive Access</a:t>
            </a:r>
          </a:p>
          <a:p>
            <a:pPr marL="628650" lvl="1" indent="-342900"/>
            <a:r>
              <a:rPr lang="en-US" dirty="0" smtClean="0"/>
              <a:t>Difficult to Analyze</a:t>
            </a:r>
          </a:p>
          <a:p>
            <a:pPr marL="628650" lvl="1" indent="-342900"/>
            <a:r>
              <a:rPr lang="en-US" dirty="0" smtClean="0"/>
              <a:t>Must Archive or Delete</a:t>
            </a:r>
            <a:endParaRPr lang="en-US" dirty="0"/>
          </a:p>
          <a:p>
            <a:pPr marL="28575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491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y types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546360400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7504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612A08E-EF2D-4551-98E9-F50583DF365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6612A08E-EF2D-4551-98E9-F50583DF365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81CC3FA-2451-41B1-BCBC-09CF1327E9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381CC3FA-2451-41B1-BCBC-09CF1327E96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E7376B9-5B39-4250-9165-A1687F7006B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graphicEl>
                                              <a:dgm id="{EE7376B9-5B39-4250-9165-A1687F7006B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doop very </a:t>
            </a:r>
            <a:r>
              <a:rPr lang="en-US" dirty="0" err="1" smtClean="0"/>
              <a:t>very</a:t>
            </a:r>
            <a:r>
              <a:rPr lang="en-US" dirty="0" smtClean="0"/>
              <a:t> quick intro </a:t>
            </a:r>
            <a:r>
              <a:rPr lang="en-US" dirty="0" smtClean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0"/>
          </p:nvPr>
        </p:nvSpPr>
        <p:spPr>
          <a:xfrm>
            <a:off x="180990" y="1164022"/>
            <a:ext cx="8639160" cy="4817678"/>
          </a:xfrm>
        </p:spPr>
        <p:txBody>
          <a:bodyPr/>
          <a:lstStyle/>
          <a:p>
            <a:r>
              <a:rPr lang="en-US" sz="2400" dirty="0" smtClean="0"/>
              <a:t>What is Hadoop</a:t>
            </a:r>
          </a:p>
          <a:p>
            <a:pPr marL="628650" lvl="1" indent="-342900"/>
            <a:r>
              <a:rPr lang="en-US" sz="2400" b="1" u="sng" dirty="0" smtClean="0"/>
              <a:t>Open Source</a:t>
            </a:r>
          </a:p>
          <a:p>
            <a:pPr marL="628650" lvl="1" indent="-342900"/>
            <a:r>
              <a:rPr lang="en-US" sz="2400" dirty="0" smtClean="0"/>
              <a:t>Fata Storage and Analysis platform for Huge Amounts of Data – TB to PB and more</a:t>
            </a:r>
          </a:p>
          <a:p>
            <a:pPr marL="628650" lvl="1" indent="-342900"/>
            <a:r>
              <a:rPr lang="en-US" sz="2400" dirty="0" smtClean="0"/>
              <a:t>Variety of Data (Structured, Poly-Structured)</a:t>
            </a:r>
          </a:p>
          <a:p>
            <a:pPr marL="628650" lvl="1" indent="-342900"/>
            <a:r>
              <a:rPr lang="en-US" sz="2400" dirty="0" smtClean="0"/>
              <a:t>Using commodity hardware?</a:t>
            </a:r>
          </a:p>
          <a:p>
            <a:pPr marL="912813" lvl="2" indent="-342900"/>
            <a:r>
              <a:rPr lang="en-US" sz="2200" dirty="0" smtClean="0"/>
              <a:t>DL380 - 12 Core, 64GB, 24 2TB Disks</a:t>
            </a:r>
          </a:p>
          <a:p>
            <a:pPr marL="628650" lvl="1" indent="-342900"/>
            <a:r>
              <a:rPr lang="en-US" sz="2400" dirty="0" smtClean="0"/>
              <a:t>Not a good basis for OLTP usage / OLAP</a:t>
            </a:r>
          </a:p>
        </p:txBody>
      </p:sp>
    </p:spTree>
    <p:extLst>
      <p:ext uri="{BB962C8B-B14F-4D97-AF65-F5344CB8AC3E}">
        <p14:creationId xmlns:p14="http://schemas.microsoft.com/office/powerpoint/2010/main" val="1902528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doop very </a:t>
            </a:r>
            <a:r>
              <a:rPr lang="en-US" dirty="0" err="1" smtClean="0"/>
              <a:t>very</a:t>
            </a:r>
            <a:r>
              <a:rPr lang="en-US" dirty="0" smtClean="0"/>
              <a:t> quick intro </a:t>
            </a:r>
            <a:r>
              <a:rPr lang="en-US" dirty="0" smtClean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238251"/>
            <a:ext cx="8111322" cy="4758788"/>
          </a:xfrm>
        </p:spPr>
        <p:txBody>
          <a:bodyPr/>
          <a:lstStyle/>
          <a:p>
            <a:r>
              <a:rPr lang="en-US" sz="2400" dirty="0"/>
              <a:t>Scalable</a:t>
            </a:r>
          </a:p>
          <a:p>
            <a:pPr marL="571500" lvl="1" indent="-285750"/>
            <a:r>
              <a:rPr lang="en-US" sz="2400" b="0" dirty="0"/>
              <a:t>Scales linearly in storage capacity and </a:t>
            </a:r>
            <a:r>
              <a:rPr lang="en-US" sz="2400" b="0" dirty="0" smtClean="0"/>
              <a:t>compute capacity</a:t>
            </a:r>
          </a:p>
          <a:p>
            <a:r>
              <a:rPr lang="en-US" sz="2400" dirty="0" smtClean="0"/>
              <a:t>Fault-tolerant</a:t>
            </a:r>
            <a:endParaRPr lang="en-US" sz="2400" dirty="0"/>
          </a:p>
          <a:p>
            <a:pPr marL="571500" lvl="1" indent="-285750"/>
            <a:r>
              <a:rPr lang="en-US" sz="2400" b="0" dirty="0"/>
              <a:t>Marriage of the distributed file system and </a:t>
            </a:r>
            <a:r>
              <a:rPr lang="en-US" sz="2400" b="0" dirty="0" smtClean="0"/>
              <a:t>the fault-tolerant </a:t>
            </a:r>
            <a:r>
              <a:rPr lang="en-US" sz="2400" b="0" dirty="0"/>
              <a:t>framework used for reading </a:t>
            </a:r>
            <a:r>
              <a:rPr lang="en-US" sz="2400" b="0" dirty="0" smtClean="0"/>
              <a:t>this data</a:t>
            </a:r>
            <a:endParaRPr lang="en-US" sz="2400" b="0" dirty="0"/>
          </a:p>
          <a:p>
            <a:r>
              <a:rPr lang="en-US" sz="2400" dirty="0"/>
              <a:t>Distributed processing</a:t>
            </a:r>
          </a:p>
          <a:p>
            <a:pPr marL="571500" lvl="1" indent="-285750"/>
            <a:r>
              <a:rPr lang="en-US" sz="2400" b="0" dirty="0"/>
              <a:t>Following the divide-and-conquer </a:t>
            </a:r>
            <a:r>
              <a:rPr lang="en-US" sz="2400" b="0" dirty="0" smtClean="0"/>
              <a:t>strategy</a:t>
            </a:r>
          </a:p>
          <a:p>
            <a:pPr marL="571500" lvl="1" indent="-285750"/>
            <a:r>
              <a:rPr lang="en-US" sz="2400" dirty="0"/>
              <a:t>Uses Master-Slave Shared Nothing </a:t>
            </a:r>
            <a:r>
              <a:rPr lang="en-US" sz="2400" dirty="0" smtClean="0"/>
              <a:t>architectur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52888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534" y="352696"/>
            <a:ext cx="8484904" cy="561703"/>
          </a:xfrm>
        </p:spPr>
        <p:txBody>
          <a:bodyPr/>
          <a:lstStyle/>
          <a:p>
            <a:r>
              <a:rPr lang="en-US" dirty="0" smtClean="0"/>
              <a:t>Hadoop Structur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9169" y="1351313"/>
            <a:ext cx="5489763" cy="454283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5534" y="1351312"/>
            <a:ext cx="3753135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chemeClr val="accent1"/>
                </a:solidFill>
              </a:rPr>
              <a:t>2 Main Ingredients</a:t>
            </a:r>
          </a:p>
          <a:p>
            <a:pPr marL="571500" lvl="1" indent="-285750">
              <a:buFont typeface="Arial" panose="020B0604020202020204" pitchFamily="34" charset="0"/>
              <a:buChar char="•"/>
            </a:pP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ameNod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Maintains mapping of file blocks to data</a:t>
            </a:r>
          </a:p>
          <a:p>
            <a:pPr marL="57150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des slaves</a:t>
            </a:r>
          </a:p>
          <a:p>
            <a:pPr marL="571500" lvl="1" indent="-285750">
              <a:buFont typeface="Arial" panose="020B0604020202020204" pitchFamily="34" charset="0"/>
              <a:buChar char="•"/>
            </a:pP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ataNod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Stores and serves blocks of data</a:t>
            </a:r>
          </a:p>
          <a:p>
            <a:pPr marL="571500" lvl="1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lock Size = 64 MB</a:t>
            </a:r>
          </a:p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plication Factor = 3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74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e Need to achieve? From Data to Insight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106328" y="1124743"/>
            <a:ext cx="1179592" cy="4908381"/>
            <a:chOff x="-352007" y="980728"/>
            <a:chExt cx="1179592" cy="4827762"/>
          </a:xfrm>
        </p:grpSpPr>
        <p:cxnSp>
          <p:nvCxnSpPr>
            <p:cNvPr id="5" name="Straight Connector 4"/>
            <p:cNvCxnSpPr/>
            <p:nvPr/>
          </p:nvCxnSpPr>
          <p:spPr bwMode="auto">
            <a:xfrm>
              <a:off x="827584" y="980728"/>
              <a:ext cx="0" cy="4752528"/>
            </a:xfrm>
            <a:prstGeom prst="line">
              <a:avLst/>
            </a:prstGeom>
            <a:ln w="508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" name="TextBox 5"/>
            <p:cNvSpPr txBox="1"/>
            <p:nvPr/>
          </p:nvSpPr>
          <p:spPr>
            <a:xfrm>
              <a:off x="-352007" y="5445224"/>
              <a:ext cx="1179592" cy="363266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r>
                <a:rPr lang="en-US" dirty="0" smtClean="0"/>
                <a:t>Quantity</a:t>
              </a:r>
              <a:endParaRPr lang="he-IL" dirty="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-26060" y="980728"/>
              <a:ext cx="853643" cy="369332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r>
                <a:rPr lang="en-US" dirty="0" smtClean="0"/>
                <a:t>Value</a:t>
              </a:r>
              <a:endParaRPr lang="he-IL" dirty="0"/>
            </a:p>
          </p:txBody>
        </p:sp>
      </p:grpSp>
      <p:sp>
        <p:nvSpPr>
          <p:cNvPr id="14" name="Freeform 13"/>
          <p:cNvSpPr/>
          <p:nvPr/>
        </p:nvSpPr>
        <p:spPr>
          <a:xfrm>
            <a:off x="4210050" y="1397000"/>
            <a:ext cx="1790700" cy="1140393"/>
          </a:xfrm>
          <a:custGeom>
            <a:avLst/>
            <a:gdLst>
              <a:gd name="connsiteX0" fmla="*/ 0 w 1790700"/>
              <a:gd name="connsiteY0" fmla="*/ 1140393 h 1140393"/>
              <a:gd name="connsiteX1" fmla="*/ 895345 w 1790700"/>
              <a:gd name="connsiteY1" fmla="*/ 0 h 1140393"/>
              <a:gd name="connsiteX2" fmla="*/ 895355 w 1790700"/>
              <a:gd name="connsiteY2" fmla="*/ 0 h 1140393"/>
              <a:gd name="connsiteX3" fmla="*/ 1790700 w 1790700"/>
              <a:gd name="connsiteY3" fmla="*/ 1140393 h 1140393"/>
              <a:gd name="connsiteX4" fmla="*/ 0 w 1790700"/>
              <a:gd name="connsiteY4" fmla="*/ 1140393 h 1140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0700" h="1140393">
                <a:moveTo>
                  <a:pt x="0" y="1140393"/>
                </a:moveTo>
                <a:lnTo>
                  <a:pt x="895345" y="0"/>
                </a:lnTo>
                <a:lnTo>
                  <a:pt x="895355" y="0"/>
                </a:lnTo>
                <a:lnTo>
                  <a:pt x="1790700" y="1140393"/>
                </a:lnTo>
                <a:lnTo>
                  <a:pt x="0" y="114039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0640" tIns="40640" rIns="40640" bIns="40640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200" kern="1200" dirty="0" smtClean="0"/>
          </a:p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kern="1200" dirty="0" smtClean="0"/>
              <a:t>Insight</a:t>
            </a:r>
            <a:endParaRPr lang="en-US" sz="2400" kern="1200" dirty="0"/>
          </a:p>
        </p:txBody>
      </p:sp>
      <p:sp>
        <p:nvSpPr>
          <p:cNvPr id="15" name="Freeform 14"/>
          <p:cNvSpPr/>
          <p:nvPr/>
        </p:nvSpPr>
        <p:spPr>
          <a:xfrm>
            <a:off x="3314700" y="2537393"/>
            <a:ext cx="3581400" cy="1140393"/>
          </a:xfrm>
          <a:custGeom>
            <a:avLst/>
            <a:gdLst>
              <a:gd name="connsiteX0" fmla="*/ 0 w 3581400"/>
              <a:gd name="connsiteY0" fmla="*/ 1140393 h 1140393"/>
              <a:gd name="connsiteX1" fmla="*/ 895345 w 3581400"/>
              <a:gd name="connsiteY1" fmla="*/ 0 h 1140393"/>
              <a:gd name="connsiteX2" fmla="*/ 2686055 w 3581400"/>
              <a:gd name="connsiteY2" fmla="*/ 0 h 1140393"/>
              <a:gd name="connsiteX3" fmla="*/ 3581400 w 3581400"/>
              <a:gd name="connsiteY3" fmla="*/ 1140393 h 1140393"/>
              <a:gd name="connsiteX4" fmla="*/ 0 w 3581400"/>
              <a:gd name="connsiteY4" fmla="*/ 1140393 h 1140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81400" h="1140393">
                <a:moveTo>
                  <a:pt x="0" y="1140393"/>
                </a:moveTo>
                <a:lnTo>
                  <a:pt x="895345" y="0"/>
                </a:lnTo>
                <a:lnTo>
                  <a:pt x="2686055" y="0"/>
                </a:lnTo>
                <a:lnTo>
                  <a:pt x="3581400" y="1140393"/>
                </a:lnTo>
                <a:lnTo>
                  <a:pt x="0" y="114039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7385" tIns="40640" rIns="667385" bIns="40640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kern="1200" dirty="0" smtClean="0"/>
              <a:t>Knowledge</a:t>
            </a:r>
            <a:endParaRPr lang="en-US" sz="3200" kern="1200" dirty="0"/>
          </a:p>
        </p:txBody>
      </p:sp>
      <p:sp>
        <p:nvSpPr>
          <p:cNvPr id="16" name="Freeform 15"/>
          <p:cNvSpPr/>
          <p:nvPr/>
        </p:nvSpPr>
        <p:spPr>
          <a:xfrm>
            <a:off x="2419350" y="3677786"/>
            <a:ext cx="5372100" cy="1140393"/>
          </a:xfrm>
          <a:custGeom>
            <a:avLst/>
            <a:gdLst>
              <a:gd name="connsiteX0" fmla="*/ 0 w 5372100"/>
              <a:gd name="connsiteY0" fmla="*/ 1140393 h 1140393"/>
              <a:gd name="connsiteX1" fmla="*/ 895345 w 5372100"/>
              <a:gd name="connsiteY1" fmla="*/ 0 h 1140393"/>
              <a:gd name="connsiteX2" fmla="*/ 4476755 w 5372100"/>
              <a:gd name="connsiteY2" fmla="*/ 0 h 1140393"/>
              <a:gd name="connsiteX3" fmla="*/ 5372100 w 5372100"/>
              <a:gd name="connsiteY3" fmla="*/ 1140393 h 1140393"/>
              <a:gd name="connsiteX4" fmla="*/ 0 w 5372100"/>
              <a:gd name="connsiteY4" fmla="*/ 1140393 h 1140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2100" h="1140393">
                <a:moveTo>
                  <a:pt x="0" y="1140393"/>
                </a:moveTo>
                <a:lnTo>
                  <a:pt x="895345" y="0"/>
                </a:lnTo>
                <a:lnTo>
                  <a:pt x="4476755" y="0"/>
                </a:lnTo>
                <a:lnTo>
                  <a:pt x="5372100" y="1140393"/>
                </a:lnTo>
                <a:lnTo>
                  <a:pt x="0" y="114039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80757" tIns="40640" rIns="980758" bIns="40640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kern="1200" dirty="0" smtClean="0"/>
              <a:t>Information</a:t>
            </a:r>
            <a:endParaRPr lang="en-US" sz="3200" kern="1200" dirty="0"/>
          </a:p>
        </p:txBody>
      </p:sp>
      <p:sp>
        <p:nvSpPr>
          <p:cNvPr id="17" name="Freeform 16"/>
          <p:cNvSpPr/>
          <p:nvPr/>
        </p:nvSpPr>
        <p:spPr>
          <a:xfrm>
            <a:off x="1524000" y="4818179"/>
            <a:ext cx="7162800" cy="1140393"/>
          </a:xfrm>
          <a:custGeom>
            <a:avLst/>
            <a:gdLst>
              <a:gd name="connsiteX0" fmla="*/ 0 w 7162800"/>
              <a:gd name="connsiteY0" fmla="*/ 1140393 h 1140393"/>
              <a:gd name="connsiteX1" fmla="*/ 895345 w 7162800"/>
              <a:gd name="connsiteY1" fmla="*/ 0 h 1140393"/>
              <a:gd name="connsiteX2" fmla="*/ 6267455 w 7162800"/>
              <a:gd name="connsiteY2" fmla="*/ 0 h 1140393"/>
              <a:gd name="connsiteX3" fmla="*/ 7162800 w 7162800"/>
              <a:gd name="connsiteY3" fmla="*/ 1140393 h 1140393"/>
              <a:gd name="connsiteX4" fmla="*/ 0 w 7162800"/>
              <a:gd name="connsiteY4" fmla="*/ 1140393 h 1140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62800" h="1140393">
                <a:moveTo>
                  <a:pt x="0" y="1140393"/>
                </a:moveTo>
                <a:lnTo>
                  <a:pt x="895345" y="0"/>
                </a:lnTo>
                <a:lnTo>
                  <a:pt x="6267455" y="0"/>
                </a:lnTo>
                <a:lnTo>
                  <a:pt x="7162800" y="1140393"/>
                </a:lnTo>
                <a:lnTo>
                  <a:pt x="0" y="114039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94129" tIns="40640" rIns="1294131" bIns="40640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kern="1200" dirty="0" smtClean="0"/>
              <a:t>Data</a:t>
            </a:r>
            <a:endParaRPr lang="en-US" sz="3200" kern="1200" dirty="0"/>
          </a:p>
        </p:txBody>
      </p:sp>
    </p:spTree>
    <p:extLst>
      <p:ext uri="{BB962C8B-B14F-4D97-AF65-F5344CB8AC3E}">
        <p14:creationId xmlns:p14="http://schemas.microsoft.com/office/powerpoint/2010/main" val="153730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doo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245221"/>
            <a:ext cx="8111322" cy="4978158"/>
          </a:xfrm>
        </p:spPr>
        <p:txBody>
          <a:bodyPr/>
          <a:lstStyle/>
          <a:p>
            <a:pPr marL="0" indent="0"/>
            <a:r>
              <a:rPr lang="en-US" dirty="0" smtClean="0"/>
              <a:t>HDFS</a:t>
            </a:r>
            <a:endParaRPr lang="en-US" b="0" dirty="0" smtClean="0"/>
          </a:p>
          <a:p>
            <a:pPr lvl="1"/>
            <a:r>
              <a:rPr lang="en-US" b="0" dirty="0" smtClean="0"/>
              <a:t>Distributed </a:t>
            </a:r>
            <a:r>
              <a:rPr lang="en-US" b="0" dirty="0"/>
              <a:t>File System designed for </a:t>
            </a:r>
            <a:r>
              <a:rPr lang="en-US" b="0" dirty="0" smtClean="0"/>
              <a:t>huge datasets</a:t>
            </a:r>
            <a:endParaRPr lang="en-US" b="0" dirty="0"/>
          </a:p>
          <a:p>
            <a:pPr lvl="1"/>
            <a:r>
              <a:rPr lang="en-US" b="0" dirty="0"/>
              <a:t>Reliable and Good Performance</a:t>
            </a:r>
          </a:p>
          <a:p>
            <a:pPr lvl="1"/>
            <a:r>
              <a:rPr lang="en-US" b="0" dirty="0"/>
              <a:t>High throughput access: Disk latency</a:t>
            </a:r>
          </a:p>
          <a:p>
            <a:pPr lvl="1"/>
            <a:r>
              <a:rPr lang="en-US" b="0" dirty="0"/>
              <a:t>Self-Healing High-Bandwidth Clustered Storage</a:t>
            </a:r>
          </a:p>
          <a:p>
            <a:pPr lvl="1"/>
            <a:r>
              <a:rPr lang="en-US" b="0" dirty="0"/>
              <a:t>Split data across nodes in a </a:t>
            </a:r>
            <a:r>
              <a:rPr lang="en-US" b="0" dirty="0" smtClean="0"/>
              <a:t>cluster</a:t>
            </a:r>
          </a:p>
          <a:p>
            <a:pPr marL="0" indent="0"/>
            <a:r>
              <a:rPr lang="en-US" b="1" dirty="0">
                <a:solidFill>
                  <a:schemeClr val="accent1"/>
                </a:solidFill>
              </a:rPr>
              <a:t>Map Reduce</a:t>
            </a:r>
          </a:p>
          <a:p>
            <a:pPr marL="571500" lvl="1" indent="-285750"/>
            <a:r>
              <a:rPr lang="en-US" b="0" dirty="0"/>
              <a:t>Scheduling Engine for Distributed Workload Processing</a:t>
            </a:r>
          </a:p>
          <a:p>
            <a:pPr marL="571500" lvl="1" indent="-285750"/>
            <a:r>
              <a:rPr lang="en-US" b="0" dirty="0"/>
              <a:t>Pair Key-Value</a:t>
            </a:r>
          </a:p>
          <a:p>
            <a:pPr marL="571500" lvl="1" indent="-285750"/>
            <a:r>
              <a:rPr lang="en-US" b="0" dirty="0"/>
              <a:t>Map function</a:t>
            </a:r>
          </a:p>
          <a:p>
            <a:pPr marL="571500" lvl="1" indent="-285750"/>
            <a:r>
              <a:rPr lang="en-US" b="0" dirty="0"/>
              <a:t>Reduce function</a:t>
            </a:r>
          </a:p>
          <a:p>
            <a:pPr marL="571500" lvl="1" indent="-285750"/>
            <a:r>
              <a:rPr lang="fr-FR" b="0" dirty="0"/>
              <a:t>Script </a:t>
            </a:r>
            <a:r>
              <a:rPr lang="fr-FR" b="0" dirty="0" smtClean="0"/>
              <a:t>langages: </a:t>
            </a:r>
            <a:r>
              <a:rPr lang="fr-FR" b="0" dirty="0"/>
              <a:t>Java, </a:t>
            </a:r>
            <a:r>
              <a:rPr lang="fr-FR" b="0" dirty="0" smtClean="0"/>
              <a:t>python</a:t>
            </a:r>
          </a:p>
          <a:p>
            <a:pPr marL="571500" lvl="1" indent="-285750"/>
            <a:r>
              <a:rPr lang="en-US" b="0" dirty="0" smtClean="0"/>
              <a:t>Takes </a:t>
            </a:r>
            <a:r>
              <a:rPr lang="en-US" b="0" dirty="0"/>
              <a:t>Advantage of HDFS’ data distribution</a:t>
            </a:r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pPr marL="285750" lvl="1" indent="0">
              <a:buNone/>
            </a:pPr>
            <a:endParaRPr lang="en-US" sz="2800" b="1" i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835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doo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245221"/>
            <a:ext cx="8111322" cy="4978158"/>
          </a:xfrm>
        </p:spPr>
        <p:txBody>
          <a:bodyPr/>
          <a:lstStyle/>
          <a:p>
            <a:pPr marL="0" indent="0" algn="ctr"/>
            <a:endParaRPr lang="en-US" sz="2800" dirty="0" smtClean="0"/>
          </a:p>
          <a:p>
            <a:pPr marL="0" indent="0" algn="ctr"/>
            <a:r>
              <a:rPr lang="en-US" sz="2800" dirty="0" smtClean="0"/>
              <a:t>Hadoop is a very strong framework</a:t>
            </a:r>
          </a:p>
          <a:p>
            <a:pPr marL="0" indent="0" algn="ctr"/>
            <a:endParaRPr lang="en-US" sz="2800" b="0" dirty="0"/>
          </a:p>
          <a:p>
            <a:pPr marL="0" indent="0" algn="ctr"/>
            <a:r>
              <a:rPr lang="en-US" sz="2800" b="0" dirty="0" smtClean="0"/>
              <a:t>BUT</a:t>
            </a:r>
          </a:p>
          <a:p>
            <a:pPr marL="0" indent="0" algn="ctr"/>
            <a:endParaRPr lang="en-US" sz="2800" b="0" dirty="0"/>
          </a:p>
          <a:p>
            <a:pPr marL="0" indent="0" algn="ctr"/>
            <a:r>
              <a:rPr lang="en-US" sz="2800" dirty="0" smtClean="0"/>
              <a:t>In Most cases, it is not suitable by itself as a Datawarehouse</a:t>
            </a:r>
            <a:endParaRPr lang="en-US" sz="2800" dirty="0"/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pPr marL="285750" lvl="1" indent="0">
              <a:buNone/>
            </a:pPr>
            <a:endParaRPr lang="en-US" sz="2800" b="1" i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756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olution of Enterprise Data warehouse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715918622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588153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00086714-362E-4A65-B014-04928D711F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00086714-362E-4A65-B014-04928D711FF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F864F20-590A-4D1B-8954-A2FBB2F7C3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graphicEl>
                                              <a:dgm id="{8F864F20-590A-4D1B-8954-A2FBB2F7C3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BDB9650-7A02-4C0D-A3E7-5F8CB7D32D4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graphicEl>
                                              <a:dgm id="{EBDB9650-7A02-4C0D-A3E7-5F8CB7D32D4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A3CBB1E-CBBD-4F00-A7A1-0B16D4F6497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graphicEl>
                                              <a:dgm id="{2A3CBB1E-CBBD-4F00-A7A1-0B16D4F6497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AAF5A0C-4A97-41EC-9FEA-06E11495A34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graphicEl>
                                              <a:dgm id="{7AAF5A0C-4A97-41EC-9FEA-06E11495A34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B11CA96-13F1-4D40-91FD-D6AE34429D0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graphicEl>
                                              <a:dgm id="{AB11CA96-13F1-4D40-91FD-D6AE34429D0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CBA4D2E-46F0-45B0-8751-81CE6A42C7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>
                                            <p:graphicEl>
                                              <a:dgm id="{7CBA4D2E-46F0-45B0-8751-81CE6A42C7F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ssive Parallel processing DWH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745498797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86635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48C63C82-D0BA-4FDE-B18F-5833FD09909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dgm id="{48C63C82-D0BA-4FDE-B18F-5833FD09909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6E1194C4-427C-400E-8F32-82FCC79A98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graphicEl>
                                              <a:dgm id="{6E1194C4-427C-400E-8F32-82FCC79A98E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F7927A6-DA41-472D-BDDF-4F9B5A8882A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graphicEl>
                                              <a:dgm id="{3F7927A6-DA41-472D-BDDF-4F9B5A8882A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0078993-3319-455D-96A5-F7D6B0FF10E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graphicEl>
                                              <a:dgm id="{00078993-3319-455D-96A5-F7D6B0FF10E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61C23C9-79BB-4414-901B-58D5166C6E2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graphicEl>
                                              <a:dgm id="{F61C23C9-79BB-4414-901B-58D5166C6E2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3228BED-0D90-4E29-B816-1DC7B309451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graphicEl>
                                              <a:dgm id="{A3228BED-0D90-4E29-B816-1DC7B309451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699572BF-2237-45BA-B874-FD7E6EC3EB8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graphicEl>
                                              <a:dgm id="{699572BF-2237-45BA-B874-FD7E6EC3EB8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30A32BB-F591-46DA-852C-60A14D3A1AF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graphicEl>
                                              <a:dgm id="{D30A32BB-F591-46DA-852C-60A14D3A1AF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ssive Parallel processing DWH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1212828" y="2785662"/>
            <a:ext cx="6089693" cy="1591475"/>
            <a:chOff x="1527153" y="3900087"/>
            <a:chExt cx="6089693" cy="1591475"/>
          </a:xfrm>
        </p:grpSpPr>
        <p:sp>
          <p:nvSpPr>
            <p:cNvPr id="6" name="Freeform 5"/>
            <p:cNvSpPr/>
            <p:nvPr/>
          </p:nvSpPr>
          <p:spPr>
            <a:xfrm>
              <a:off x="4572000" y="4557721"/>
              <a:ext cx="2387212" cy="276206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38103"/>
                  </a:lnTo>
                  <a:lnTo>
                    <a:pt x="2387212" y="138103"/>
                  </a:lnTo>
                  <a:lnTo>
                    <a:pt x="2387212" y="276206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Freeform 6"/>
            <p:cNvSpPr/>
            <p:nvPr/>
          </p:nvSpPr>
          <p:spPr>
            <a:xfrm>
              <a:off x="4572000" y="4557721"/>
              <a:ext cx="795737" cy="276206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38103"/>
                  </a:lnTo>
                  <a:lnTo>
                    <a:pt x="795737" y="138103"/>
                  </a:lnTo>
                  <a:lnTo>
                    <a:pt x="795737" y="276206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Freeform 7"/>
            <p:cNvSpPr/>
            <p:nvPr/>
          </p:nvSpPr>
          <p:spPr>
            <a:xfrm>
              <a:off x="3776262" y="4557721"/>
              <a:ext cx="795737" cy="276206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795737" y="0"/>
                  </a:moveTo>
                  <a:lnTo>
                    <a:pt x="795737" y="138103"/>
                  </a:lnTo>
                  <a:lnTo>
                    <a:pt x="0" y="138103"/>
                  </a:lnTo>
                  <a:lnTo>
                    <a:pt x="0" y="276206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Freeform 8"/>
            <p:cNvSpPr/>
            <p:nvPr/>
          </p:nvSpPr>
          <p:spPr>
            <a:xfrm>
              <a:off x="2184787" y="4557721"/>
              <a:ext cx="2387212" cy="276206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387212" y="0"/>
                  </a:moveTo>
                  <a:lnTo>
                    <a:pt x="2387212" y="138103"/>
                  </a:lnTo>
                  <a:lnTo>
                    <a:pt x="0" y="138103"/>
                  </a:lnTo>
                  <a:lnTo>
                    <a:pt x="0" y="276206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Arc 9"/>
            <p:cNvSpPr/>
            <p:nvPr/>
          </p:nvSpPr>
          <p:spPr>
            <a:xfrm>
              <a:off x="4243182" y="3900087"/>
              <a:ext cx="657634" cy="657634"/>
            </a:xfrm>
            <a:prstGeom prst="arc">
              <a:avLst>
                <a:gd name="adj1" fmla="val 13200000"/>
                <a:gd name="adj2" fmla="val 192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Arc 10"/>
            <p:cNvSpPr/>
            <p:nvPr/>
          </p:nvSpPr>
          <p:spPr>
            <a:xfrm>
              <a:off x="4243182" y="3900087"/>
              <a:ext cx="657634" cy="657634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3914365" y="4018461"/>
              <a:ext cx="1315268" cy="420885"/>
            </a:xfrm>
            <a:custGeom>
              <a:avLst/>
              <a:gdLst>
                <a:gd name="connsiteX0" fmla="*/ 0 w 1315268"/>
                <a:gd name="connsiteY0" fmla="*/ 0 h 420885"/>
                <a:gd name="connsiteX1" fmla="*/ 1315268 w 1315268"/>
                <a:gd name="connsiteY1" fmla="*/ 0 h 420885"/>
                <a:gd name="connsiteX2" fmla="*/ 1315268 w 1315268"/>
                <a:gd name="connsiteY2" fmla="*/ 420885 h 420885"/>
                <a:gd name="connsiteX3" fmla="*/ 0 w 1315268"/>
                <a:gd name="connsiteY3" fmla="*/ 420885 h 420885"/>
                <a:gd name="connsiteX4" fmla="*/ 0 w 1315268"/>
                <a:gd name="connsiteY4" fmla="*/ 0 h 42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5268" h="420885">
                  <a:moveTo>
                    <a:pt x="0" y="0"/>
                  </a:moveTo>
                  <a:lnTo>
                    <a:pt x="1315268" y="0"/>
                  </a:lnTo>
                  <a:lnTo>
                    <a:pt x="1315268" y="420885"/>
                  </a:lnTo>
                  <a:lnTo>
                    <a:pt x="0" y="420885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/>
                <a:t>Leader Node</a:t>
              </a:r>
              <a:endParaRPr lang="en-US" sz="1600" kern="1200" dirty="0"/>
            </a:p>
          </p:txBody>
        </p:sp>
        <p:sp>
          <p:nvSpPr>
            <p:cNvPr id="13" name="Arc 12"/>
            <p:cNvSpPr/>
            <p:nvPr/>
          </p:nvSpPr>
          <p:spPr>
            <a:xfrm>
              <a:off x="1855970" y="4833928"/>
              <a:ext cx="657634" cy="657634"/>
            </a:xfrm>
            <a:prstGeom prst="arc">
              <a:avLst>
                <a:gd name="adj1" fmla="val 13200000"/>
                <a:gd name="adj2" fmla="val 192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Arc 13"/>
            <p:cNvSpPr/>
            <p:nvPr/>
          </p:nvSpPr>
          <p:spPr>
            <a:xfrm>
              <a:off x="1855970" y="4833928"/>
              <a:ext cx="657634" cy="657634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1527153" y="4952302"/>
              <a:ext cx="1315268" cy="420885"/>
            </a:xfrm>
            <a:custGeom>
              <a:avLst/>
              <a:gdLst>
                <a:gd name="connsiteX0" fmla="*/ 0 w 1315268"/>
                <a:gd name="connsiteY0" fmla="*/ 0 h 420885"/>
                <a:gd name="connsiteX1" fmla="*/ 1315268 w 1315268"/>
                <a:gd name="connsiteY1" fmla="*/ 0 h 420885"/>
                <a:gd name="connsiteX2" fmla="*/ 1315268 w 1315268"/>
                <a:gd name="connsiteY2" fmla="*/ 420885 h 420885"/>
                <a:gd name="connsiteX3" fmla="*/ 0 w 1315268"/>
                <a:gd name="connsiteY3" fmla="*/ 420885 h 420885"/>
                <a:gd name="connsiteX4" fmla="*/ 0 w 1315268"/>
                <a:gd name="connsiteY4" fmla="*/ 0 h 42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5268" h="420885">
                  <a:moveTo>
                    <a:pt x="0" y="0"/>
                  </a:moveTo>
                  <a:lnTo>
                    <a:pt x="1315268" y="0"/>
                  </a:lnTo>
                  <a:lnTo>
                    <a:pt x="1315268" y="420885"/>
                  </a:lnTo>
                  <a:lnTo>
                    <a:pt x="0" y="420885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/>
                <a:t>Node 1</a:t>
              </a:r>
              <a:endParaRPr lang="en-US" sz="1600" kern="1200" dirty="0"/>
            </a:p>
          </p:txBody>
        </p:sp>
        <p:sp>
          <p:nvSpPr>
            <p:cNvPr id="16" name="Arc 15"/>
            <p:cNvSpPr/>
            <p:nvPr/>
          </p:nvSpPr>
          <p:spPr>
            <a:xfrm>
              <a:off x="3447445" y="4833928"/>
              <a:ext cx="657634" cy="657634"/>
            </a:xfrm>
            <a:prstGeom prst="arc">
              <a:avLst>
                <a:gd name="adj1" fmla="val 13200000"/>
                <a:gd name="adj2" fmla="val 192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Arc 16"/>
            <p:cNvSpPr/>
            <p:nvPr/>
          </p:nvSpPr>
          <p:spPr>
            <a:xfrm>
              <a:off x="3447445" y="4833928"/>
              <a:ext cx="657634" cy="657634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Freeform 17"/>
            <p:cNvSpPr/>
            <p:nvPr/>
          </p:nvSpPr>
          <p:spPr>
            <a:xfrm>
              <a:off x="3118628" y="4952302"/>
              <a:ext cx="1315268" cy="420885"/>
            </a:xfrm>
            <a:custGeom>
              <a:avLst/>
              <a:gdLst>
                <a:gd name="connsiteX0" fmla="*/ 0 w 1315268"/>
                <a:gd name="connsiteY0" fmla="*/ 0 h 420885"/>
                <a:gd name="connsiteX1" fmla="*/ 1315268 w 1315268"/>
                <a:gd name="connsiteY1" fmla="*/ 0 h 420885"/>
                <a:gd name="connsiteX2" fmla="*/ 1315268 w 1315268"/>
                <a:gd name="connsiteY2" fmla="*/ 420885 h 420885"/>
                <a:gd name="connsiteX3" fmla="*/ 0 w 1315268"/>
                <a:gd name="connsiteY3" fmla="*/ 420885 h 420885"/>
                <a:gd name="connsiteX4" fmla="*/ 0 w 1315268"/>
                <a:gd name="connsiteY4" fmla="*/ 0 h 42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5268" h="420885">
                  <a:moveTo>
                    <a:pt x="0" y="0"/>
                  </a:moveTo>
                  <a:lnTo>
                    <a:pt x="1315268" y="0"/>
                  </a:lnTo>
                  <a:lnTo>
                    <a:pt x="1315268" y="420885"/>
                  </a:lnTo>
                  <a:lnTo>
                    <a:pt x="0" y="420885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/>
                <a:t>Node 2</a:t>
              </a:r>
              <a:endParaRPr lang="en-US" sz="1600" kern="1200" dirty="0"/>
            </a:p>
          </p:txBody>
        </p:sp>
        <p:sp>
          <p:nvSpPr>
            <p:cNvPr id="19" name="Arc 18"/>
            <p:cNvSpPr/>
            <p:nvPr/>
          </p:nvSpPr>
          <p:spPr>
            <a:xfrm>
              <a:off x="5038920" y="4833928"/>
              <a:ext cx="657634" cy="657634"/>
            </a:xfrm>
            <a:prstGeom prst="arc">
              <a:avLst>
                <a:gd name="adj1" fmla="val 13200000"/>
                <a:gd name="adj2" fmla="val 192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Arc 19"/>
            <p:cNvSpPr/>
            <p:nvPr/>
          </p:nvSpPr>
          <p:spPr>
            <a:xfrm>
              <a:off x="5038920" y="4833928"/>
              <a:ext cx="657634" cy="657634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Freeform 20"/>
            <p:cNvSpPr/>
            <p:nvPr/>
          </p:nvSpPr>
          <p:spPr>
            <a:xfrm>
              <a:off x="4710103" y="4952302"/>
              <a:ext cx="1315268" cy="420885"/>
            </a:xfrm>
            <a:custGeom>
              <a:avLst/>
              <a:gdLst>
                <a:gd name="connsiteX0" fmla="*/ 0 w 1315268"/>
                <a:gd name="connsiteY0" fmla="*/ 0 h 420885"/>
                <a:gd name="connsiteX1" fmla="*/ 1315268 w 1315268"/>
                <a:gd name="connsiteY1" fmla="*/ 0 h 420885"/>
                <a:gd name="connsiteX2" fmla="*/ 1315268 w 1315268"/>
                <a:gd name="connsiteY2" fmla="*/ 420885 h 420885"/>
                <a:gd name="connsiteX3" fmla="*/ 0 w 1315268"/>
                <a:gd name="connsiteY3" fmla="*/ 420885 h 420885"/>
                <a:gd name="connsiteX4" fmla="*/ 0 w 1315268"/>
                <a:gd name="connsiteY4" fmla="*/ 0 h 42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5268" h="420885">
                  <a:moveTo>
                    <a:pt x="0" y="0"/>
                  </a:moveTo>
                  <a:lnTo>
                    <a:pt x="1315268" y="0"/>
                  </a:lnTo>
                  <a:lnTo>
                    <a:pt x="1315268" y="420885"/>
                  </a:lnTo>
                  <a:lnTo>
                    <a:pt x="0" y="420885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/>
                <a:t>Node 3</a:t>
              </a:r>
              <a:endParaRPr lang="en-US" sz="1600" kern="1200" dirty="0"/>
            </a:p>
          </p:txBody>
        </p:sp>
        <p:sp>
          <p:nvSpPr>
            <p:cNvPr id="22" name="Arc 21"/>
            <p:cNvSpPr/>
            <p:nvPr/>
          </p:nvSpPr>
          <p:spPr>
            <a:xfrm>
              <a:off x="6630395" y="4833928"/>
              <a:ext cx="657634" cy="657634"/>
            </a:xfrm>
            <a:prstGeom prst="arc">
              <a:avLst>
                <a:gd name="adj1" fmla="val 13200000"/>
                <a:gd name="adj2" fmla="val 192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Arc 22"/>
            <p:cNvSpPr/>
            <p:nvPr/>
          </p:nvSpPr>
          <p:spPr>
            <a:xfrm>
              <a:off x="6630395" y="4833928"/>
              <a:ext cx="657634" cy="657634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Freeform 23"/>
            <p:cNvSpPr/>
            <p:nvPr/>
          </p:nvSpPr>
          <p:spPr>
            <a:xfrm>
              <a:off x="6301578" y="4952302"/>
              <a:ext cx="1315268" cy="420885"/>
            </a:xfrm>
            <a:custGeom>
              <a:avLst/>
              <a:gdLst>
                <a:gd name="connsiteX0" fmla="*/ 0 w 1315268"/>
                <a:gd name="connsiteY0" fmla="*/ 0 h 420885"/>
                <a:gd name="connsiteX1" fmla="*/ 1315268 w 1315268"/>
                <a:gd name="connsiteY1" fmla="*/ 0 h 420885"/>
                <a:gd name="connsiteX2" fmla="*/ 1315268 w 1315268"/>
                <a:gd name="connsiteY2" fmla="*/ 420885 h 420885"/>
                <a:gd name="connsiteX3" fmla="*/ 0 w 1315268"/>
                <a:gd name="connsiteY3" fmla="*/ 420885 h 420885"/>
                <a:gd name="connsiteX4" fmla="*/ 0 w 1315268"/>
                <a:gd name="connsiteY4" fmla="*/ 0 h 42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5268" h="420885">
                  <a:moveTo>
                    <a:pt x="0" y="0"/>
                  </a:moveTo>
                  <a:lnTo>
                    <a:pt x="1315268" y="0"/>
                  </a:lnTo>
                  <a:lnTo>
                    <a:pt x="1315268" y="420885"/>
                  </a:lnTo>
                  <a:lnTo>
                    <a:pt x="0" y="420885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/>
                <a:t>Node N</a:t>
              </a:r>
              <a:endParaRPr lang="en-US" sz="1600" kern="1200" dirty="0"/>
            </a:p>
          </p:txBody>
        </p:sp>
      </p:grpSp>
      <p:sp>
        <p:nvSpPr>
          <p:cNvPr id="25" name="Rounded Rectangle 24"/>
          <p:cNvSpPr/>
          <p:nvPr/>
        </p:nvSpPr>
        <p:spPr>
          <a:xfrm>
            <a:off x="1479336" y="4467224"/>
            <a:ext cx="782251" cy="466725"/>
          </a:xfrm>
          <a:prstGeom prst="roundRect">
            <a:avLst/>
          </a:pr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Local Storage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3094629" y="4467223"/>
            <a:ext cx="782251" cy="466725"/>
          </a:xfrm>
          <a:prstGeom prst="roundRect">
            <a:avLst/>
          </a:pr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Local Storage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4662286" y="4467222"/>
            <a:ext cx="782251" cy="466725"/>
          </a:xfrm>
          <a:prstGeom prst="roundRect">
            <a:avLst/>
          </a:pr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Local Storage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6253761" y="4467221"/>
            <a:ext cx="782251" cy="466725"/>
          </a:xfrm>
          <a:prstGeom prst="roundRect">
            <a:avLst/>
          </a:pr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Local Storage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Down Arrow 28"/>
          <p:cNvSpPr/>
          <p:nvPr/>
        </p:nvSpPr>
        <p:spPr>
          <a:xfrm>
            <a:off x="4119571" y="1928411"/>
            <a:ext cx="275637" cy="819150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29"/>
          <p:cNvSpPr/>
          <p:nvPr/>
        </p:nvSpPr>
        <p:spPr>
          <a:xfrm>
            <a:off x="4664482" y="5557031"/>
            <a:ext cx="782251" cy="466725"/>
          </a:xfrm>
          <a:prstGeom prst="roundRect">
            <a:avLst/>
          </a:pr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Load Data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1" name="Down Arrow 30"/>
          <p:cNvSpPr/>
          <p:nvPr/>
        </p:nvSpPr>
        <p:spPr>
          <a:xfrm rot="10800000">
            <a:off x="4915308" y="5024032"/>
            <a:ext cx="275637" cy="466583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ounded Rectangle 31"/>
          <p:cNvSpPr/>
          <p:nvPr/>
        </p:nvSpPr>
        <p:spPr>
          <a:xfrm>
            <a:off x="3880035" y="1377937"/>
            <a:ext cx="782251" cy="466725"/>
          </a:xfrm>
          <a:prstGeom prst="roundRect">
            <a:avLst/>
          </a:pr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QL Query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35" name="Elbow Connector 34"/>
          <p:cNvCxnSpPr>
            <a:stCxn id="27" idx="3"/>
            <a:endCxn id="28" idx="2"/>
          </p:cNvCxnSpPr>
          <p:nvPr/>
        </p:nvCxnSpPr>
        <p:spPr>
          <a:xfrm>
            <a:off x="5444537" y="4700585"/>
            <a:ext cx="1200350" cy="233361"/>
          </a:xfrm>
          <a:prstGeom prst="curvedConnector4">
            <a:avLst>
              <a:gd name="adj1" fmla="val 33708"/>
              <a:gd name="adj2" fmla="val 19796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/>
          <p:cNvCxnSpPr>
            <a:stCxn id="27" idx="1"/>
            <a:endCxn id="26" idx="2"/>
          </p:cNvCxnSpPr>
          <p:nvPr/>
        </p:nvCxnSpPr>
        <p:spPr>
          <a:xfrm rot="10800000" flipV="1">
            <a:off x="3485756" y="4700584"/>
            <a:ext cx="1176531" cy="233363"/>
          </a:xfrm>
          <a:prstGeom prst="curvedConnector4">
            <a:avLst>
              <a:gd name="adj1" fmla="val 33378"/>
              <a:gd name="adj2" fmla="val 19795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/>
          <p:cNvCxnSpPr>
            <a:stCxn id="27" idx="1"/>
            <a:endCxn id="25" idx="2"/>
          </p:cNvCxnSpPr>
          <p:nvPr/>
        </p:nvCxnSpPr>
        <p:spPr>
          <a:xfrm rot="10800000" flipV="1">
            <a:off x="1870462" y="4700585"/>
            <a:ext cx="2791824" cy="233364"/>
          </a:xfrm>
          <a:prstGeom prst="curvedConnector4">
            <a:avLst>
              <a:gd name="adj1" fmla="val 9901"/>
              <a:gd name="adj2" fmla="val 34897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4546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ssive Parallel processing DWH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212828" y="1377937"/>
            <a:ext cx="6089693" cy="4645819"/>
            <a:chOff x="1212828" y="1377937"/>
            <a:chExt cx="6089693" cy="4645819"/>
          </a:xfrm>
        </p:grpSpPr>
        <p:grpSp>
          <p:nvGrpSpPr>
            <p:cNvPr id="5" name="Group 4"/>
            <p:cNvGrpSpPr/>
            <p:nvPr/>
          </p:nvGrpSpPr>
          <p:grpSpPr>
            <a:xfrm>
              <a:off x="1212828" y="2785662"/>
              <a:ext cx="6089693" cy="1591475"/>
              <a:chOff x="1527153" y="3900087"/>
              <a:chExt cx="6089693" cy="1591475"/>
            </a:xfrm>
          </p:grpSpPr>
          <p:sp>
            <p:nvSpPr>
              <p:cNvPr id="6" name="Freeform 5"/>
              <p:cNvSpPr/>
              <p:nvPr/>
            </p:nvSpPr>
            <p:spPr>
              <a:xfrm>
                <a:off x="4572000" y="4557721"/>
                <a:ext cx="2387212" cy="276206"/>
              </a:xfrm>
              <a:custGeom>
                <a:avLst/>
                <a:gdLst/>
                <a:ahLst/>
                <a:cxnLst/>
                <a:rect l="0" t="0" r="0" b="0"/>
                <a:pathLst>
                  <a:path>
                    <a:moveTo>
                      <a:pt x="0" y="0"/>
                    </a:moveTo>
                    <a:lnTo>
                      <a:pt x="0" y="138103"/>
                    </a:lnTo>
                    <a:lnTo>
                      <a:pt x="2387212" y="138103"/>
                    </a:lnTo>
                    <a:lnTo>
                      <a:pt x="2387212" y="276206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" name="Freeform 6"/>
              <p:cNvSpPr/>
              <p:nvPr/>
            </p:nvSpPr>
            <p:spPr>
              <a:xfrm>
                <a:off x="4572000" y="4557721"/>
                <a:ext cx="795737" cy="276206"/>
              </a:xfrm>
              <a:custGeom>
                <a:avLst/>
                <a:gdLst/>
                <a:ahLst/>
                <a:cxnLst/>
                <a:rect l="0" t="0" r="0" b="0"/>
                <a:pathLst>
                  <a:path>
                    <a:moveTo>
                      <a:pt x="0" y="0"/>
                    </a:moveTo>
                    <a:lnTo>
                      <a:pt x="0" y="138103"/>
                    </a:lnTo>
                    <a:lnTo>
                      <a:pt x="795737" y="138103"/>
                    </a:lnTo>
                    <a:lnTo>
                      <a:pt x="795737" y="276206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" name="Freeform 7"/>
              <p:cNvSpPr/>
              <p:nvPr/>
            </p:nvSpPr>
            <p:spPr>
              <a:xfrm>
                <a:off x="3776262" y="4557721"/>
                <a:ext cx="795737" cy="276206"/>
              </a:xfrm>
              <a:custGeom>
                <a:avLst/>
                <a:gdLst/>
                <a:ahLst/>
                <a:cxnLst/>
                <a:rect l="0" t="0" r="0" b="0"/>
                <a:pathLst>
                  <a:path>
                    <a:moveTo>
                      <a:pt x="795737" y="0"/>
                    </a:moveTo>
                    <a:lnTo>
                      <a:pt x="795737" y="138103"/>
                    </a:lnTo>
                    <a:lnTo>
                      <a:pt x="0" y="138103"/>
                    </a:lnTo>
                    <a:lnTo>
                      <a:pt x="0" y="276206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9" name="Freeform 8"/>
              <p:cNvSpPr/>
              <p:nvPr/>
            </p:nvSpPr>
            <p:spPr>
              <a:xfrm>
                <a:off x="2184787" y="4557721"/>
                <a:ext cx="2387212" cy="276206"/>
              </a:xfrm>
              <a:custGeom>
                <a:avLst/>
                <a:gdLst/>
                <a:ahLst/>
                <a:cxnLst/>
                <a:rect l="0" t="0" r="0" b="0"/>
                <a:pathLst>
                  <a:path>
                    <a:moveTo>
                      <a:pt x="2387212" y="0"/>
                    </a:moveTo>
                    <a:lnTo>
                      <a:pt x="2387212" y="138103"/>
                    </a:lnTo>
                    <a:lnTo>
                      <a:pt x="0" y="138103"/>
                    </a:lnTo>
                    <a:lnTo>
                      <a:pt x="0" y="276206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0" name="Arc 9"/>
              <p:cNvSpPr/>
              <p:nvPr/>
            </p:nvSpPr>
            <p:spPr>
              <a:xfrm>
                <a:off x="4243182" y="3900087"/>
                <a:ext cx="657634" cy="657634"/>
              </a:xfrm>
              <a:prstGeom prst="arc">
                <a:avLst>
                  <a:gd name="adj1" fmla="val 13200000"/>
                  <a:gd name="adj2" fmla="val 192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1" name="Arc 10"/>
              <p:cNvSpPr/>
              <p:nvPr/>
            </p:nvSpPr>
            <p:spPr>
              <a:xfrm>
                <a:off x="4243182" y="3900087"/>
                <a:ext cx="657634" cy="657634"/>
              </a:xfrm>
              <a:prstGeom prst="arc">
                <a:avLst>
                  <a:gd name="adj1" fmla="val 2400000"/>
                  <a:gd name="adj2" fmla="val 84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2" name="Freeform 11"/>
              <p:cNvSpPr/>
              <p:nvPr/>
            </p:nvSpPr>
            <p:spPr>
              <a:xfrm>
                <a:off x="3914365" y="4018461"/>
                <a:ext cx="1315268" cy="420885"/>
              </a:xfrm>
              <a:custGeom>
                <a:avLst/>
                <a:gdLst>
                  <a:gd name="connsiteX0" fmla="*/ 0 w 1315268"/>
                  <a:gd name="connsiteY0" fmla="*/ 0 h 420885"/>
                  <a:gd name="connsiteX1" fmla="*/ 1315268 w 1315268"/>
                  <a:gd name="connsiteY1" fmla="*/ 0 h 420885"/>
                  <a:gd name="connsiteX2" fmla="*/ 1315268 w 1315268"/>
                  <a:gd name="connsiteY2" fmla="*/ 420885 h 420885"/>
                  <a:gd name="connsiteX3" fmla="*/ 0 w 1315268"/>
                  <a:gd name="connsiteY3" fmla="*/ 420885 h 420885"/>
                  <a:gd name="connsiteX4" fmla="*/ 0 w 1315268"/>
                  <a:gd name="connsiteY4" fmla="*/ 0 h 420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5268" h="420885">
                    <a:moveTo>
                      <a:pt x="0" y="0"/>
                    </a:moveTo>
                    <a:lnTo>
                      <a:pt x="1315268" y="0"/>
                    </a:lnTo>
                    <a:lnTo>
                      <a:pt x="1315268" y="420885"/>
                    </a:lnTo>
                    <a:lnTo>
                      <a:pt x="0" y="42088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sp3d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0160" tIns="10160" rIns="10160" bIns="10160" numCol="1" spcCol="1270" anchor="ctr" anchorCtr="0">
                <a:noAutofit/>
              </a:bodyPr>
              <a:lstStyle/>
              <a:p>
                <a:pPr lvl="0"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kern="1200" dirty="0" smtClean="0"/>
                  <a:t>Leader Node</a:t>
                </a:r>
                <a:endParaRPr lang="en-US" sz="1600" kern="1200" dirty="0"/>
              </a:p>
            </p:txBody>
          </p:sp>
          <p:sp>
            <p:nvSpPr>
              <p:cNvPr id="13" name="Arc 12"/>
              <p:cNvSpPr/>
              <p:nvPr/>
            </p:nvSpPr>
            <p:spPr>
              <a:xfrm>
                <a:off x="1855970" y="4833928"/>
                <a:ext cx="657634" cy="657634"/>
              </a:xfrm>
              <a:prstGeom prst="arc">
                <a:avLst>
                  <a:gd name="adj1" fmla="val 13200000"/>
                  <a:gd name="adj2" fmla="val 192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4" name="Arc 13"/>
              <p:cNvSpPr/>
              <p:nvPr/>
            </p:nvSpPr>
            <p:spPr>
              <a:xfrm>
                <a:off x="1855970" y="4833928"/>
                <a:ext cx="657634" cy="657634"/>
              </a:xfrm>
              <a:prstGeom prst="arc">
                <a:avLst>
                  <a:gd name="adj1" fmla="val 2400000"/>
                  <a:gd name="adj2" fmla="val 84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5" name="Freeform 14"/>
              <p:cNvSpPr/>
              <p:nvPr/>
            </p:nvSpPr>
            <p:spPr>
              <a:xfrm>
                <a:off x="1527153" y="4952302"/>
                <a:ext cx="1315268" cy="420885"/>
              </a:xfrm>
              <a:custGeom>
                <a:avLst/>
                <a:gdLst>
                  <a:gd name="connsiteX0" fmla="*/ 0 w 1315268"/>
                  <a:gd name="connsiteY0" fmla="*/ 0 h 420885"/>
                  <a:gd name="connsiteX1" fmla="*/ 1315268 w 1315268"/>
                  <a:gd name="connsiteY1" fmla="*/ 0 h 420885"/>
                  <a:gd name="connsiteX2" fmla="*/ 1315268 w 1315268"/>
                  <a:gd name="connsiteY2" fmla="*/ 420885 h 420885"/>
                  <a:gd name="connsiteX3" fmla="*/ 0 w 1315268"/>
                  <a:gd name="connsiteY3" fmla="*/ 420885 h 420885"/>
                  <a:gd name="connsiteX4" fmla="*/ 0 w 1315268"/>
                  <a:gd name="connsiteY4" fmla="*/ 0 h 420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5268" h="420885">
                    <a:moveTo>
                      <a:pt x="0" y="0"/>
                    </a:moveTo>
                    <a:lnTo>
                      <a:pt x="1315268" y="0"/>
                    </a:lnTo>
                    <a:lnTo>
                      <a:pt x="1315268" y="420885"/>
                    </a:lnTo>
                    <a:lnTo>
                      <a:pt x="0" y="42088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sp3d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0160" tIns="10160" rIns="10160" bIns="10160" numCol="1" spcCol="1270" anchor="ctr" anchorCtr="0">
                <a:noAutofit/>
              </a:bodyPr>
              <a:lstStyle/>
              <a:p>
                <a:pPr lvl="0"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kern="1200" dirty="0" smtClean="0"/>
                  <a:t>Node 1</a:t>
                </a:r>
                <a:endParaRPr lang="en-US" sz="1600" kern="1200" dirty="0"/>
              </a:p>
            </p:txBody>
          </p:sp>
          <p:sp>
            <p:nvSpPr>
              <p:cNvPr id="16" name="Arc 15"/>
              <p:cNvSpPr/>
              <p:nvPr/>
            </p:nvSpPr>
            <p:spPr>
              <a:xfrm>
                <a:off x="3447445" y="4833928"/>
                <a:ext cx="657634" cy="657634"/>
              </a:xfrm>
              <a:prstGeom prst="arc">
                <a:avLst>
                  <a:gd name="adj1" fmla="val 13200000"/>
                  <a:gd name="adj2" fmla="val 192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7" name="Arc 16"/>
              <p:cNvSpPr/>
              <p:nvPr/>
            </p:nvSpPr>
            <p:spPr>
              <a:xfrm>
                <a:off x="3447445" y="4833928"/>
                <a:ext cx="657634" cy="657634"/>
              </a:xfrm>
              <a:prstGeom prst="arc">
                <a:avLst>
                  <a:gd name="adj1" fmla="val 2400000"/>
                  <a:gd name="adj2" fmla="val 84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8" name="Freeform 17"/>
              <p:cNvSpPr/>
              <p:nvPr/>
            </p:nvSpPr>
            <p:spPr>
              <a:xfrm>
                <a:off x="3118628" y="4952302"/>
                <a:ext cx="1315268" cy="420885"/>
              </a:xfrm>
              <a:custGeom>
                <a:avLst/>
                <a:gdLst>
                  <a:gd name="connsiteX0" fmla="*/ 0 w 1315268"/>
                  <a:gd name="connsiteY0" fmla="*/ 0 h 420885"/>
                  <a:gd name="connsiteX1" fmla="*/ 1315268 w 1315268"/>
                  <a:gd name="connsiteY1" fmla="*/ 0 h 420885"/>
                  <a:gd name="connsiteX2" fmla="*/ 1315268 w 1315268"/>
                  <a:gd name="connsiteY2" fmla="*/ 420885 h 420885"/>
                  <a:gd name="connsiteX3" fmla="*/ 0 w 1315268"/>
                  <a:gd name="connsiteY3" fmla="*/ 420885 h 420885"/>
                  <a:gd name="connsiteX4" fmla="*/ 0 w 1315268"/>
                  <a:gd name="connsiteY4" fmla="*/ 0 h 420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5268" h="420885">
                    <a:moveTo>
                      <a:pt x="0" y="0"/>
                    </a:moveTo>
                    <a:lnTo>
                      <a:pt x="1315268" y="0"/>
                    </a:lnTo>
                    <a:lnTo>
                      <a:pt x="1315268" y="420885"/>
                    </a:lnTo>
                    <a:lnTo>
                      <a:pt x="0" y="42088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sp3d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0160" tIns="10160" rIns="10160" bIns="10160" numCol="1" spcCol="1270" anchor="ctr" anchorCtr="0">
                <a:noAutofit/>
              </a:bodyPr>
              <a:lstStyle/>
              <a:p>
                <a:pPr lvl="0"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kern="1200" dirty="0" smtClean="0"/>
                  <a:t>Node 2</a:t>
                </a:r>
                <a:endParaRPr lang="en-US" sz="1600" kern="1200" dirty="0"/>
              </a:p>
            </p:txBody>
          </p:sp>
          <p:sp>
            <p:nvSpPr>
              <p:cNvPr id="19" name="Arc 18"/>
              <p:cNvSpPr/>
              <p:nvPr/>
            </p:nvSpPr>
            <p:spPr>
              <a:xfrm>
                <a:off x="5038920" y="4833928"/>
                <a:ext cx="657634" cy="657634"/>
              </a:xfrm>
              <a:prstGeom prst="arc">
                <a:avLst>
                  <a:gd name="adj1" fmla="val 13200000"/>
                  <a:gd name="adj2" fmla="val 192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0" name="Arc 19"/>
              <p:cNvSpPr/>
              <p:nvPr/>
            </p:nvSpPr>
            <p:spPr>
              <a:xfrm>
                <a:off x="5038920" y="4833928"/>
                <a:ext cx="657634" cy="657634"/>
              </a:xfrm>
              <a:prstGeom prst="arc">
                <a:avLst>
                  <a:gd name="adj1" fmla="val 2400000"/>
                  <a:gd name="adj2" fmla="val 84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1" name="Freeform 20"/>
              <p:cNvSpPr/>
              <p:nvPr/>
            </p:nvSpPr>
            <p:spPr>
              <a:xfrm>
                <a:off x="4710103" y="4952302"/>
                <a:ext cx="1315268" cy="420885"/>
              </a:xfrm>
              <a:custGeom>
                <a:avLst/>
                <a:gdLst>
                  <a:gd name="connsiteX0" fmla="*/ 0 w 1315268"/>
                  <a:gd name="connsiteY0" fmla="*/ 0 h 420885"/>
                  <a:gd name="connsiteX1" fmla="*/ 1315268 w 1315268"/>
                  <a:gd name="connsiteY1" fmla="*/ 0 h 420885"/>
                  <a:gd name="connsiteX2" fmla="*/ 1315268 w 1315268"/>
                  <a:gd name="connsiteY2" fmla="*/ 420885 h 420885"/>
                  <a:gd name="connsiteX3" fmla="*/ 0 w 1315268"/>
                  <a:gd name="connsiteY3" fmla="*/ 420885 h 420885"/>
                  <a:gd name="connsiteX4" fmla="*/ 0 w 1315268"/>
                  <a:gd name="connsiteY4" fmla="*/ 0 h 420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5268" h="420885">
                    <a:moveTo>
                      <a:pt x="0" y="0"/>
                    </a:moveTo>
                    <a:lnTo>
                      <a:pt x="1315268" y="0"/>
                    </a:lnTo>
                    <a:lnTo>
                      <a:pt x="1315268" y="420885"/>
                    </a:lnTo>
                    <a:lnTo>
                      <a:pt x="0" y="42088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sp3d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0160" tIns="10160" rIns="10160" bIns="10160" numCol="1" spcCol="1270" anchor="ctr" anchorCtr="0">
                <a:noAutofit/>
              </a:bodyPr>
              <a:lstStyle/>
              <a:p>
                <a:pPr lvl="0"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kern="1200" dirty="0" smtClean="0"/>
                  <a:t>Node 3</a:t>
                </a:r>
                <a:endParaRPr lang="en-US" sz="1600" kern="1200" dirty="0"/>
              </a:p>
            </p:txBody>
          </p:sp>
          <p:sp>
            <p:nvSpPr>
              <p:cNvPr id="22" name="Arc 21"/>
              <p:cNvSpPr/>
              <p:nvPr/>
            </p:nvSpPr>
            <p:spPr>
              <a:xfrm>
                <a:off x="6630395" y="4833928"/>
                <a:ext cx="657634" cy="657634"/>
              </a:xfrm>
              <a:prstGeom prst="arc">
                <a:avLst>
                  <a:gd name="adj1" fmla="val 13200000"/>
                  <a:gd name="adj2" fmla="val 192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3" name="Arc 22"/>
              <p:cNvSpPr/>
              <p:nvPr/>
            </p:nvSpPr>
            <p:spPr>
              <a:xfrm>
                <a:off x="6630395" y="4833928"/>
                <a:ext cx="657634" cy="657634"/>
              </a:xfrm>
              <a:prstGeom prst="arc">
                <a:avLst>
                  <a:gd name="adj1" fmla="val 2400000"/>
                  <a:gd name="adj2" fmla="val 8400000"/>
                </a:avLst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4" name="Freeform 23"/>
              <p:cNvSpPr/>
              <p:nvPr/>
            </p:nvSpPr>
            <p:spPr>
              <a:xfrm>
                <a:off x="6301578" y="4952302"/>
                <a:ext cx="1315268" cy="420885"/>
              </a:xfrm>
              <a:custGeom>
                <a:avLst/>
                <a:gdLst>
                  <a:gd name="connsiteX0" fmla="*/ 0 w 1315268"/>
                  <a:gd name="connsiteY0" fmla="*/ 0 h 420885"/>
                  <a:gd name="connsiteX1" fmla="*/ 1315268 w 1315268"/>
                  <a:gd name="connsiteY1" fmla="*/ 0 h 420885"/>
                  <a:gd name="connsiteX2" fmla="*/ 1315268 w 1315268"/>
                  <a:gd name="connsiteY2" fmla="*/ 420885 h 420885"/>
                  <a:gd name="connsiteX3" fmla="*/ 0 w 1315268"/>
                  <a:gd name="connsiteY3" fmla="*/ 420885 h 420885"/>
                  <a:gd name="connsiteX4" fmla="*/ 0 w 1315268"/>
                  <a:gd name="connsiteY4" fmla="*/ 0 h 420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5268" h="420885">
                    <a:moveTo>
                      <a:pt x="0" y="0"/>
                    </a:moveTo>
                    <a:lnTo>
                      <a:pt x="1315268" y="0"/>
                    </a:lnTo>
                    <a:lnTo>
                      <a:pt x="1315268" y="420885"/>
                    </a:lnTo>
                    <a:lnTo>
                      <a:pt x="0" y="42088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sp3d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0160" tIns="10160" rIns="10160" bIns="10160" numCol="1" spcCol="1270" anchor="ctr" anchorCtr="0">
                <a:noAutofit/>
              </a:bodyPr>
              <a:lstStyle/>
              <a:p>
                <a:pPr lvl="0"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kern="1200" dirty="0" smtClean="0"/>
                  <a:t>Node N</a:t>
                </a:r>
                <a:endParaRPr lang="en-US" sz="1600" kern="1200" dirty="0"/>
              </a:p>
            </p:txBody>
          </p:sp>
        </p:grpSp>
        <p:sp>
          <p:nvSpPr>
            <p:cNvPr id="25" name="Rounded Rectangle 24"/>
            <p:cNvSpPr/>
            <p:nvPr/>
          </p:nvSpPr>
          <p:spPr>
            <a:xfrm>
              <a:off x="1479336" y="4467224"/>
              <a:ext cx="782251" cy="46672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tx1"/>
                  </a:solidFill>
                </a:rPr>
                <a:t>Local Storage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3094629" y="4467223"/>
              <a:ext cx="782251" cy="46672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tx1"/>
                  </a:solidFill>
                </a:rPr>
                <a:t>Local Storage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4662286" y="4467222"/>
              <a:ext cx="782251" cy="46672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tx1"/>
                  </a:solidFill>
                </a:rPr>
                <a:t>Local Storage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6253761" y="4467221"/>
              <a:ext cx="782251" cy="46672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tx1"/>
                  </a:solidFill>
                </a:rPr>
                <a:t>Local Storage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9" name="Down Arrow 28"/>
            <p:cNvSpPr/>
            <p:nvPr/>
          </p:nvSpPr>
          <p:spPr>
            <a:xfrm>
              <a:off x="4119571" y="1928411"/>
              <a:ext cx="275637" cy="819150"/>
            </a:xfrm>
            <a:prstGeom prst="downArrow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4664482" y="5557031"/>
              <a:ext cx="782251" cy="46672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tx1"/>
                  </a:solidFill>
                </a:rPr>
                <a:t>Load Data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1" name="Down Arrow 30"/>
            <p:cNvSpPr/>
            <p:nvPr/>
          </p:nvSpPr>
          <p:spPr>
            <a:xfrm rot="10800000">
              <a:off x="4915308" y="5024032"/>
              <a:ext cx="275637" cy="466583"/>
            </a:xfrm>
            <a:prstGeom prst="downArrow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3880035" y="1377937"/>
              <a:ext cx="782251" cy="46672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tx1"/>
                  </a:solidFill>
                </a:rPr>
                <a:t>SQL Query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cxnSp>
          <p:nvCxnSpPr>
            <p:cNvPr id="35" name="Elbow Connector 34"/>
            <p:cNvCxnSpPr>
              <a:stCxn id="27" idx="3"/>
              <a:endCxn id="28" idx="2"/>
            </p:cNvCxnSpPr>
            <p:nvPr/>
          </p:nvCxnSpPr>
          <p:spPr>
            <a:xfrm>
              <a:off x="5444537" y="4700585"/>
              <a:ext cx="1200350" cy="233361"/>
            </a:xfrm>
            <a:prstGeom prst="curvedConnector4">
              <a:avLst>
                <a:gd name="adj1" fmla="val 33708"/>
                <a:gd name="adj2" fmla="val 19796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Elbow Connector 36"/>
            <p:cNvCxnSpPr>
              <a:stCxn id="27" idx="1"/>
              <a:endCxn id="26" idx="2"/>
            </p:cNvCxnSpPr>
            <p:nvPr/>
          </p:nvCxnSpPr>
          <p:spPr>
            <a:xfrm rot="10800000" flipV="1">
              <a:off x="3485756" y="4700584"/>
              <a:ext cx="1176531" cy="233363"/>
            </a:xfrm>
            <a:prstGeom prst="curvedConnector4">
              <a:avLst>
                <a:gd name="adj1" fmla="val 33378"/>
                <a:gd name="adj2" fmla="val 19795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urved Connector 41"/>
            <p:cNvCxnSpPr>
              <a:stCxn id="27" idx="1"/>
              <a:endCxn id="25" idx="2"/>
            </p:cNvCxnSpPr>
            <p:nvPr/>
          </p:nvCxnSpPr>
          <p:spPr>
            <a:xfrm rot="10800000" flipV="1">
              <a:off x="1870462" y="4700585"/>
              <a:ext cx="2791824" cy="233364"/>
            </a:xfrm>
            <a:prstGeom prst="curvedConnector4">
              <a:avLst>
                <a:gd name="adj1" fmla="val 9901"/>
                <a:gd name="adj2" fmla="val 348978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Content Placeholder 2"/>
          <p:cNvSpPr>
            <a:spLocks noGrp="1"/>
          </p:cNvSpPr>
          <p:nvPr>
            <p:ph sz="quarter" idx="10"/>
          </p:nvPr>
        </p:nvSpPr>
        <p:spPr>
          <a:xfrm>
            <a:off x="430227" y="1164022"/>
            <a:ext cx="3094018" cy="5110960"/>
          </a:xfrm>
        </p:spPr>
        <p:txBody>
          <a:bodyPr/>
          <a:lstStyle/>
          <a:p>
            <a:r>
              <a:rPr lang="en-US" dirty="0" smtClean="0"/>
              <a:t>MPP Key concepts</a:t>
            </a:r>
          </a:p>
          <a:p>
            <a:pPr marL="628650" lvl="1" indent="-342900"/>
            <a:r>
              <a:rPr lang="en-US" dirty="0" smtClean="0"/>
              <a:t>Horizontal scalability</a:t>
            </a:r>
          </a:p>
          <a:p>
            <a:pPr marL="628650" lvl="1" indent="-342900"/>
            <a:r>
              <a:rPr lang="en-US" dirty="0" smtClean="0"/>
              <a:t>Loading is done via Copy command and not INSERT</a:t>
            </a:r>
          </a:p>
          <a:p>
            <a:pPr marL="628650" lvl="1" indent="-342900"/>
            <a:r>
              <a:rPr lang="en-US" dirty="0" smtClean="0"/>
              <a:t>A 10GbE Network is usually required between nodes</a:t>
            </a:r>
          </a:p>
          <a:p>
            <a:pPr marL="628650" lvl="1" indent="-342900"/>
            <a:r>
              <a:rPr lang="en-US" dirty="0" smtClean="0"/>
              <a:t>Shared Nothing architecture uses Direct attached storage</a:t>
            </a:r>
          </a:p>
          <a:p>
            <a:pPr marL="628650" lvl="1" indent="-342900"/>
            <a:r>
              <a:rPr lang="en-US" dirty="0" smtClean="0"/>
              <a:t>Sometimes there is not leader node required (HP Vertica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144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33333E-6 L 0.19792 -0.0016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96" y="-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ssive Parallel processing DWH</a:t>
            </a:r>
            <a:endParaRPr lang="en-US" dirty="0"/>
          </a:p>
        </p:txBody>
      </p:sp>
      <p:sp>
        <p:nvSpPr>
          <p:cNvPr id="36" name="Content Placeholder 2"/>
          <p:cNvSpPr>
            <a:spLocks noGrp="1"/>
          </p:cNvSpPr>
          <p:nvPr>
            <p:ph sz="quarter" idx="10"/>
          </p:nvPr>
        </p:nvSpPr>
        <p:spPr>
          <a:xfrm>
            <a:off x="180990" y="1164022"/>
            <a:ext cx="8399448" cy="4817678"/>
          </a:xfrm>
        </p:spPr>
        <p:txBody>
          <a:bodyPr/>
          <a:lstStyle/>
          <a:p>
            <a:r>
              <a:rPr lang="en-US" sz="2400" dirty="0" smtClean="0"/>
              <a:t>MPP Key benefits</a:t>
            </a:r>
          </a:p>
          <a:p>
            <a:pPr marL="628650" lvl="1" indent="-342900"/>
            <a:r>
              <a:rPr lang="en-US" sz="2400" dirty="0" smtClean="0"/>
              <a:t>Provides extreme scalability on general purpose systems</a:t>
            </a:r>
          </a:p>
          <a:p>
            <a:pPr marL="628650" lvl="1" indent="-342900"/>
            <a:r>
              <a:rPr lang="en-US" sz="2400" dirty="0" smtClean="0"/>
              <a:t>Provide automatic parallelization</a:t>
            </a:r>
          </a:p>
          <a:p>
            <a:pPr marL="912813" lvl="2" indent="-342900"/>
            <a:r>
              <a:rPr lang="en-US" sz="2400" dirty="0" smtClean="0"/>
              <a:t>Just load and query like any database</a:t>
            </a:r>
          </a:p>
          <a:p>
            <a:pPr marL="628650" lvl="1" indent="-342900"/>
            <a:r>
              <a:rPr lang="en-US" sz="2400" dirty="0" smtClean="0"/>
              <a:t>All nodes can scan and process in parallel</a:t>
            </a:r>
          </a:p>
          <a:p>
            <a:pPr marL="912813" lvl="2" indent="-342900"/>
            <a:r>
              <a:rPr lang="en-US" sz="2400" dirty="0" smtClean="0"/>
              <a:t>Extremely scalable and I/O optimized</a:t>
            </a:r>
          </a:p>
          <a:p>
            <a:pPr marL="628650" lvl="1" indent="-342900"/>
            <a:r>
              <a:rPr lang="en-US" sz="2400" dirty="0" smtClean="0"/>
              <a:t>Linear scalability by adding nodes</a:t>
            </a:r>
          </a:p>
          <a:p>
            <a:pPr marL="912813" lvl="2" indent="-342900"/>
            <a:r>
              <a:rPr lang="en-US" sz="2400" dirty="0" smtClean="0"/>
              <a:t>Each nodes adds storage, query performance and loading performanc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75550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990" y="350838"/>
            <a:ext cx="8963010" cy="563562"/>
          </a:xfrm>
        </p:spPr>
        <p:txBody>
          <a:bodyPr/>
          <a:lstStyle/>
          <a:p>
            <a:r>
              <a:rPr lang="en-US" dirty="0" smtClean="0"/>
              <a:t>Real World Example MPP – 3 Node HP Vertica database</a:t>
            </a:r>
            <a:endParaRPr lang="en-US" dirty="0"/>
          </a:p>
        </p:txBody>
      </p:sp>
      <p:sp>
        <p:nvSpPr>
          <p:cNvPr id="36" name="Content Placeholder 2"/>
          <p:cNvSpPr>
            <a:spLocks noGrp="1"/>
          </p:cNvSpPr>
          <p:nvPr>
            <p:ph sz="quarter" idx="10"/>
          </p:nvPr>
        </p:nvSpPr>
        <p:spPr>
          <a:xfrm>
            <a:off x="180990" y="1164022"/>
            <a:ext cx="8399448" cy="4817678"/>
          </a:xfrm>
        </p:spPr>
        <p:txBody>
          <a:bodyPr/>
          <a:lstStyle/>
          <a:p>
            <a:r>
              <a:rPr lang="en-US" sz="1400" b="0" dirty="0" smtClean="0">
                <a:solidFill>
                  <a:schemeClr val="tx1"/>
                </a:solidFill>
              </a:rPr>
              <a:t>Time</a:t>
            </a:r>
            <a:r>
              <a:rPr lang="en-US" sz="1400" b="0" dirty="0">
                <a:solidFill>
                  <a:schemeClr val="tx1"/>
                </a:solidFill>
              </a:rPr>
              <a:t>: First fetch (10 rows): 153.675 </a:t>
            </a:r>
            <a:r>
              <a:rPr lang="en-US" sz="1400" b="0" dirty="0" err="1">
                <a:solidFill>
                  <a:schemeClr val="tx1"/>
                </a:solidFill>
              </a:rPr>
              <a:t>ms.</a:t>
            </a:r>
            <a:r>
              <a:rPr lang="en-US" sz="1400" b="0" dirty="0">
                <a:solidFill>
                  <a:schemeClr val="tx1"/>
                </a:solidFill>
              </a:rPr>
              <a:t> All rows formatted: </a:t>
            </a:r>
            <a:r>
              <a:rPr lang="en-US" sz="1400" dirty="0">
                <a:solidFill>
                  <a:srgbClr val="FF0000"/>
                </a:solidFill>
              </a:rPr>
              <a:t>153.733 </a:t>
            </a:r>
            <a:r>
              <a:rPr lang="en-US" sz="1400" dirty="0" err="1">
                <a:solidFill>
                  <a:srgbClr val="FF0000"/>
                </a:solidFill>
              </a:rPr>
              <a:t>ms</a:t>
            </a:r>
            <a:r>
              <a:rPr lang="en-US" sz="1400" b="0" dirty="0">
                <a:solidFill>
                  <a:schemeClr val="tx1"/>
                </a:solidFill>
              </a:rPr>
              <a:t/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c4db=&gt; select count(*) from events;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    count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--------------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 </a:t>
            </a:r>
            <a:r>
              <a:rPr lang="en-US" sz="1400" dirty="0">
                <a:solidFill>
                  <a:srgbClr val="FF0000"/>
                </a:solidFill>
              </a:rPr>
              <a:t>247915500000</a:t>
            </a:r>
            <a:r>
              <a:rPr lang="en-US" sz="1400" b="0" dirty="0">
                <a:solidFill>
                  <a:schemeClr val="tx1"/>
                </a:solidFill>
              </a:rPr>
              <a:t/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(1 row)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Time: First fetch (1 row): 737.595 </a:t>
            </a:r>
            <a:r>
              <a:rPr lang="en-US" sz="1400" b="0" dirty="0" err="1">
                <a:solidFill>
                  <a:schemeClr val="tx1"/>
                </a:solidFill>
              </a:rPr>
              <a:t>ms.</a:t>
            </a:r>
            <a:r>
              <a:rPr lang="en-US" sz="1400" b="0" dirty="0">
                <a:solidFill>
                  <a:schemeClr val="tx1"/>
                </a:solidFill>
              </a:rPr>
              <a:t> All rows formatted: </a:t>
            </a:r>
            <a:r>
              <a:rPr lang="en-US" sz="1400" dirty="0">
                <a:solidFill>
                  <a:srgbClr val="FF0000"/>
                </a:solidFill>
              </a:rPr>
              <a:t>737.620 </a:t>
            </a:r>
            <a:r>
              <a:rPr lang="en-US" sz="1400" dirty="0" err="1">
                <a:solidFill>
                  <a:srgbClr val="FF0000"/>
                </a:solidFill>
              </a:rPr>
              <a:t>ms</a:t>
            </a:r>
            <a:r>
              <a:rPr lang="en-US" sz="1400" b="0" dirty="0">
                <a:solidFill>
                  <a:schemeClr val="tx1"/>
                </a:solidFill>
              </a:rPr>
              <a:t/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c4db=&gt; select count(distinct </a:t>
            </a:r>
            <a:r>
              <a:rPr lang="en-US" sz="1400" b="0" dirty="0" err="1">
                <a:solidFill>
                  <a:schemeClr val="tx1"/>
                </a:solidFill>
              </a:rPr>
              <a:t>computer_id</a:t>
            </a:r>
            <a:r>
              <a:rPr lang="en-US" sz="1400" b="0" dirty="0">
                <a:solidFill>
                  <a:schemeClr val="tx1"/>
                </a:solidFill>
              </a:rPr>
              <a:t>) from events;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 count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-------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  </a:t>
            </a:r>
            <a:r>
              <a:rPr lang="en-US" sz="1400" dirty="0">
                <a:solidFill>
                  <a:srgbClr val="FF0000"/>
                </a:solidFill>
              </a:rPr>
              <a:t>5001</a:t>
            </a:r>
            <a:r>
              <a:rPr lang="en-US" sz="1400" b="0" dirty="0">
                <a:solidFill>
                  <a:schemeClr val="tx1"/>
                </a:solidFill>
              </a:rPr>
              <a:t/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(1 row)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Time: First fetch (1 row): 1212.497 </a:t>
            </a:r>
            <a:r>
              <a:rPr lang="en-US" sz="1400" b="0" dirty="0" err="1">
                <a:solidFill>
                  <a:schemeClr val="tx1"/>
                </a:solidFill>
              </a:rPr>
              <a:t>ms.</a:t>
            </a:r>
            <a:r>
              <a:rPr lang="en-US" sz="1400" b="0" dirty="0">
                <a:solidFill>
                  <a:schemeClr val="tx1"/>
                </a:solidFill>
              </a:rPr>
              <a:t> All rows formatted: </a:t>
            </a:r>
            <a:r>
              <a:rPr lang="en-US" sz="1400" dirty="0">
                <a:solidFill>
                  <a:srgbClr val="FF0000"/>
                </a:solidFill>
              </a:rPr>
              <a:t>1212.527 </a:t>
            </a:r>
            <a:r>
              <a:rPr lang="en-US" sz="1400" dirty="0" err="1">
                <a:solidFill>
                  <a:srgbClr val="FF0000"/>
                </a:solidFill>
              </a:rPr>
              <a:t>ms</a:t>
            </a:r>
            <a:r>
              <a:rPr lang="en-US" sz="1400" b="0" dirty="0">
                <a:solidFill>
                  <a:schemeClr val="tx1"/>
                </a:solidFill>
              </a:rPr>
              <a:t/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c4db=&gt;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c4db=&gt; select count(distinct tm) from events;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 count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-------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 </a:t>
            </a:r>
            <a:r>
              <a:rPr lang="en-US" sz="1400" dirty="0">
                <a:solidFill>
                  <a:srgbClr val="FF0000"/>
                </a:solidFill>
              </a:rPr>
              <a:t>65405</a:t>
            </a:r>
            <a:r>
              <a:rPr lang="en-US" sz="1400" b="0" dirty="0">
                <a:solidFill>
                  <a:schemeClr val="tx1"/>
                </a:solidFill>
              </a:rPr>
              <a:t/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(1 row)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Time: First fetch (1 row): 9194.105 </a:t>
            </a:r>
            <a:r>
              <a:rPr lang="en-US" sz="1400" b="0" dirty="0" err="1">
                <a:solidFill>
                  <a:schemeClr val="tx1"/>
                </a:solidFill>
              </a:rPr>
              <a:t>ms.</a:t>
            </a:r>
            <a:r>
              <a:rPr lang="en-US" sz="1400" b="0" dirty="0">
                <a:solidFill>
                  <a:schemeClr val="tx1"/>
                </a:solidFill>
              </a:rPr>
              <a:t> All rows formatted: 9194.147 </a:t>
            </a:r>
            <a:r>
              <a:rPr lang="en-US" sz="1400" b="0" dirty="0" err="1">
                <a:solidFill>
                  <a:schemeClr val="tx1"/>
                </a:solidFill>
              </a:rPr>
              <a:t>ms</a:t>
            </a:r>
            <a:endParaRPr lang="en-US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915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217167"/>
            <a:ext cx="8111322" cy="5031233"/>
          </a:xfrm>
        </p:spPr>
        <p:txBody>
          <a:bodyPr/>
          <a:lstStyle/>
          <a:p>
            <a:r>
              <a:rPr lang="en-US" sz="1400" b="0" dirty="0">
                <a:solidFill>
                  <a:schemeClr val="tx1"/>
                </a:solidFill>
              </a:rPr>
              <a:t>SELECT /* +label(c4q0022) */ </a:t>
            </a:r>
            <a:r>
              <a:rPr lang="en-US" sz="1400" b="0" dirty="0" err="1">
                <a:solidFill>
                  <a:schemeClr val="tx1"/>
                </a:solidFill>
              </a:rPr>
              <a:t>computer_id,dt</a:t>
            </a:r>
            <a:r>
              <a:rPr lang="en-US" sz="1400" b="0" dirty="0">
                <a:solidFill>
                  <a:schemeClr val="tx1"/>
                </a:solidFill>
              </a:rPr>
              <a:t> , count(distinct </a:t>
            </a:r>
            <a:r>
              <a:rPr lang="en-US" sz="1400" b="0" dirty="0" err="1">
                <a:solidFill>
                  <a:schemeClr val="tx1"/>
                </a:solidFill>
              </a:rPr>
              <a:t>process_name</a:t>
            </a:r>
            <a:r>
              <a:rPr lang="en-US" sz="1400" b="0" dirty="0">
                <a:solidFill>
                  <a:schemeClr val="tx1"/>
                </a:solidFill>
              </a:rPr>
              <a:t>) </a:t>
            </a:r>
            <a:r>
              <a:rPr lang="en-US" sz="1400" b="0" dirty="0" err="1">
                <a:solidFill>
                  <a:schemeClr val="tx1"/>
                </a:solidFill>
              </a:rPr>
              <a:t>process_count</a:t>
            </a:r>
            <a:r>
              <a:rPr lang="en-US" sz="1400" b="0" dirty="0">
                <a:solidFill>
                  <a:schemeClr val="tx1"/>
                </a:solidFill>
              </a:rPr>
              <a:t>                  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From events                   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WHERE </a:t>
            </a:r>
            <a:r>
              <a:rPr lang="en-US" sz="1400" b="0" dirty="0" err="1">
                <a:solidFill>
                  <a:schemeClr val="tx1"/>
                </a:solidFill>
              </a:rPr>
              <a:t>dt</a:t>
            </a:r>
            <a:r>
              <a:rPr lang="en-US" sz="1400" b="0" dirty="0">
                <a:solidFill>
                  <a:schemeClr val="tx1"/>
                </a:solidFill>
              </a:rPr>
              <a:t> = '2013-06-07' and tm between '14:41:30' and '21:01:45'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Group by </a:t>
            </a:r>
            <a:r>
              <a:rPr lang="en-US" sz="1400" b="0" dirty="0" err="1">
                <a:solidFill>
                  <a:schemeClr val="tx1"/>
                </a:solidFill>
              </a:rPr>
              <a:t>computer_id</a:t>
            </a:r>
            <a:r>
              <a:rPr lang="en-US" sz="1400" b="0" dirty="0">
                <a:solidFill>
                  <a:schemeClr val="tx1"/>
                </a:solidFill>
              </a:rPr>
              <a:t>, </a:t>
            </a:r>
            <a:r>
              <a:rPr lang="en-US" sz="1400" b="0" dirty="0" err="1">
                <a:solidFill>
                  <a:schemeClr val="tx1"/>
                </a:solidFill>
              </a:rPr>
              <a:t>dt</a:t>
            </a:r>
            <a:r>
              <a:rPr lang="en-US" sz="1400" b="0" dirty="0">
                <a:solidFill>
                  <a:schemeClr val="tx1"/>
                </a:solidFill>
              </a:rPr>
              <a:t/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ORDER BY </a:t>
            </a:r>
            <a:r>
              <a:rPr lang="en-US" sz="1400" b="0" dirty="0" err="1">
                <a:solidFill>
                  <a:schemeClr val="tx1"/>
                </a:solidFill>
              </a:rPr>
              <a:t>process_count</a:t>
            </a:r>
            <a:r>
              <a:rPr lang="en-US" sz="1400" b="0" dirty="0">
                <a:solidFill>
                  <a:schemeClr val="tx1"/>
                </a:solidFill>
              </a:rPr>
              <a:t> DESC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 limit 10;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 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Time: First fetch (10 rows): 16715.003 </a:t>
            </a:r>
            <a:r>
              <a:rPr lang="en-US" sz="1400" b="0" dirty="0" err="1">
                <a:solidFill>
                  <a:schemeClr val="tx1"/>
                </a:solidFill>
              </a:rPr>
              <a:t>ms.</a:t>
            </a:r>
            <a:r>
              <a:rPr lang="en-US" sz="1400" b="0" dirty="0">
                <a:solidFill>
                  <a:schemeClr val="tx1"/>
                </a:solidFill>
              </a:rPr>
              <a:t> All rows formatted: </a:t>
            </a:r>
            <a:r>
              <a:rPr lang="en-US" sz="1400" dirty="0">
                <a:solidFill>
                  <a:schemeClr val="tx1"/>
                </a:solidFill>
              </a:rPr>
              <a:t>16715.060</a:t>
            </a:r>
            <a:r>
              <a:rPr lang="en-US" sz="1400" b="0" dirty="0">
                <a:solidFill>
                  <a:schemeClr val="tx1"/>
                </a:solidFill>
              </a:rPr>
              <a:t> </a:t>
            </a:r>
            <a:r>
              <a:rPr lang="en-US" sz="1400" b="0" dirty="0" err="1">
                <a:solidFill>
                  <a:schemeClr val="tx1"/>
                </a:solidFill>
              </a:rPr>
              <a:t>ms</a:t>
            </a:r>
            <a:endParaRPr lang="en-US" sz="1400" b="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rgbClr val="FF0000"/>
                </a:solidFill>
              </a:rPr>
              <a:t>this is what we have after the where to the group by and distinct. - 18.3B </a:t>
            </a:r>
            <a:r>
              <a:rPr lang="en-US" sz="1400" dirty="0" smtClean="0">
                <a:solidFill>
                  <a:srgbClr val="FF0000"/>
                </a:solidFill>
              </a:rPr>
              <a:t>rows out </a:t>
            </a:r>
            <a:r>
              <a:rPr lang="en-US" sz="1400" dirty="0">
                <a:solidFill>
                  <a:srgbClr val="FF0000"/>
                </a:solidFill>
              </a:rPr>
              <a:t>of 248B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 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select count(*) from events  WHERE </a:t>
            </a:r>
            <a:r>
              <a:rPr lang="en-US" sz="1400" b="0" dirty="0" err="1">
                <a:solidFill>
                  <a:schemeClr val="tx1"/>
                </a:solidFill>
              </a:rPr>
              <a:t>dt</a:t>
            </a:r>
            <a:r>
              <a:rPr lang="en-US" sz="1400" b="0" dirty="0">
                <a:solidFill>
                  <a:schemeClr val="tx1"/>
                </a:solidFill>
              </a:rPr>
              <a:t> = '2013-06-07' and tm between '14:41:30' and '21:01:45';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    count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-------------</a:t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 </a:t>
            </a:r>
            <a:r>
              <a:rPr lang="en-US" sz="1400" dirty="0">
                <a:solidFill>
                  <a:srgbClr val="FF0000"/>
                </a:solidFill>
              </a:rPr>
              <a:t>18288742669</a:t>
            </a:r>
            <a:r>
              <a:rPr lang="en-US" sz="1400" b="0" dirty="0">
                <a:solidFill>
                  <a:schemeClr val="tx1"/>
                </a:solidFill>
              </a:rPr>
              <a:t/>
            </a:r>
            <a:br>
              <a:rPr lang="en-US" sz="1400" b="0" dirty="0">
                <a:solidFill>
                  <a:schemeClr val="tx1"/>
                </a:solidFill>
              </a:rPr>
            </a:br>
            <a:r>
              <a:rPr lang="en-US" sz="1400" b="0" dirty="0">
                <a:solidFill>
                  <a:schemeClr val="tx1"/>
                </a:solidFill>
              </a:rPr>
              <a:t>(1 row)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Time: First fetch (1 row): 1703.826 </a:t>
            </a:r>
            <a:r>
              <a:rPr lang="en-US" sz="1400" b="0" dirty="0" err="1">
                <a:solidFill>
                  <a:schemeClr val="tx1"/>
                </a:solidFill>
              </a:rPr>
              <a:t>ms.</a:t>
            </a:r>
            <a:r>
              <a:rPr lang="en-US" sz="1400" b="0" dirty="0">
                <a:solidFill>
                  <a:schemeClr val="tx1"/>
                </a:solidFill>
              </a:rPr>
              <a:t> All rows formatted: 1703.861 </a:t>
            </a:r>
            <a:r>
              <a:rPr lang="en-US" sz="1400" b="0" dirty="0" err="1">
                <a:solidFill>
                  <a:schemeClr val="tx1"/>
                </a:solidFill>
              </a:rPr>
              <a:t>ms</a:t>
            </a:r>
            <a:endParaRPr lang="en-US" sz="1400" b="0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55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ssive Parallel processing DWH</a:t>
            </a:r>
            <a:endParaRPr lang="en-US" dirty="0"/>
          </a:p>
        </p:txBody>
      </p:sp>
      <p:sp>
        <p:nvSpPr>
          <p:cNvPr id="36" name="Content Placeholder 2"/>
          <p:cNvSpPr>
            <a:spLocks noGrp="1"/>
          </p:cNvSpPr>
          <p:nvPr>
            <p:ph sz="quarter" idx="10"/>
          </p:nvPr>
        </p:nvSpPr>
        <p:spPr>
          <a:xfrm>
            <a:off x="180990" y="1164022"/>
            <a:ext cx="8399448" cy="4817678"/>
          </a:xfrm>
        </p:spPr>
        <p:txBody>
          <a:bodyPr/>
          <a:lstStyle/>
          <a:p>
            <a:r>
              <a:rPr lang="en-US" sz="2400" dirty="0" smtClean="0"/>
              <a:t>MPP weak points</a:t>
            </a:r>
          </a:p>
          <a:p>
            <a:pPr marL="628650" lvl="1" indent="-342900"/>
            <a:r>
              <a:rPr lang="en-US" sz="2400" b="1" dirty="0" smtClean="0"/>
              <a:t>Not open source</a:t>
            </a:r>
          </a:p>
          <a:p>
            <a:pPr marL="912813" lvl="2" indent="-342900"/>
            <a:r>
              <a:rPr lang="en-US" sz="2200" dirty="0" smtClean="0"/>
              <a:t>Some have C</a:t>
            </a:r>
            <a:r>
              <a:rPr lang="en-US" sz="2200" dirty="0"/>
              <a:t>o</a:t>
            </a:r>
            <a:r>
              <a:rPr lang="en-US" sz="2200" dirty="0" smtClean="0"/>
              <a:t>mmunity versions but are commercial</a:t>
            </a:r>
          </a:p>
          <a:p>
            <a:pPr marL="912813" lvl="2" indent="-342900"/>
            <a:r>
              <a:rPr lang="en-US" sz="2200" dirty="0" smtClean="0"/>
              <a:t>Usually very expensive licensing</a:t>
            </a:r>
          </a:p>
          <a:p>
            <a:pPr marL="628650" lvl="1" indent="-342900"/>
            <a:r>
              <a:rPr lang="en-US" sz="2400" b="1" dirty="0" smtClean="0"/>
              <a:t>Columnar</a:t>
            </a:r>
            <a:r>
              <a:rPr lang="en-US" sz="2400" dirty="0" smtClean="0"/>
              <a:t> types require special flat table design and not ‘Star Scheme’</a:t>
            </a:r>
          </a:p>
          <a:p>
            <a:pPr marL="628650" lvl="1" indent="-342900"/>
            <a:r>
              <a:rPr lang="en-US" sz="2400" dirty="0" smtClean="0"/>
              <a:t>Different vendors differ in capabilitie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56588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questions we ask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962025" y="3662903"/>
            <a:ext cx="3106738" cy="2016125"/>
          </a:xfrm>
          <a:prstGeom prst="rect">
            <a:avLst/>
          </a:prstGeom>
          <a:solidFill>
            <a:schemeClr val="tx1">
              <a:lumMod val="65000"/>
              <a:lumOff val="35000"/>
              <a:alpha val="36000"/>
            </a:schemeClr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>
              <a:lnSpc>
                <a:spcPct val="80000"/>
              </a:lnSpc>
            </a:pPr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What happened?</a:t>
            </a:r>
          </a:p>
          <a:p>
            <a:pPr algn="ctr">
              <a:lnSpc>
                <a:spcPct val="80000"/>
              </a:lnSpc>
            </a:pPr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When</a:t>
            </a: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?</a:t>
            </a:r>
          </a:p>
          <a:p>
            <a:pPr algn="ctr">
              <a:lnSpc>
                <a:spcPct val="80000"/>
              </a:lnSpc>
            </a:pP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>
              <a:lnSpc>
                <a:spcPct val="80000"/>
              </a:lnSpc>
            </a:pP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>
              <a:lnSpc>
                <a:spcPct val="80000"/>
              </a:lnSpc>
            </a:pP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>
              <a:lnSpc>
                <a:spcPct val="80000"/>
              </a:lnSpc>
            </a:pPr>
            <a:endParaRPr lang="he-IL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057650" y="3186653"/>
            <a:ext cx="1450975" cy="2492375"/>
          </a:xfrm>
          <a:prstGeom prst="rect">
            <a:avLst/>
          </a:prstGeom>
          <a:solidFill>
            <a:schemeClr val="tx1">
              <a:lumMod val="65000"/>
              <a:lumOff val="35000"/>
              <a:alpha val="36000"/>
            </a:schemeClr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>
              <a:lnSpc>
                <a:spcPct val="80000"/>
              </a:lnSpc>
            </a:pPr>
            <a:endParaRPr lang="he-IL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>
              <a:lnSpc>
                <a:spcPct val="80000"/>
              </a:lnSpc>
            </a:pPr>
            <a:endParaRPr lang="he-IL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>
              <a:lnSpc>
                <a:spcPct val="80000"/>
              </a:lnSpc>
            </a:pPr>
            <a:endParaRPr lang="he-IL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>
              <a:lnSpc>
                <a:spcPct val="80000"/>
              </a:lnSpc>
            </a:pPr>
            <a:endParaRPr lang="he-IL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Why did it</a:t>
            </a:r>
          </a:p>
          <a:p>
            <a:pPr algn="ctr">
              <a:lnSpc>
                <a:spcPct val="80000"/>
              </a:lnSpc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Happen?</a:t>
            </a:r>
            <a:endParaRPr lang="he-IL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534025" y="2178590"/>
            <a:ext cx="1450975" cy="3500438"/>
          </a:xfrm>
          <a:prstGeom prst="rect">
            <a:avLst/>
          </a:prstGeom>
          <a:solidFill>
            <a:schemeClr val="tx1">
              <a:lumMod val="65000"/>
              <a:lumOff val="35000"/>
              <a:alpha val="36000"/>
            </a:schemeClr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>
              <a:lnSpc>
                <a:spcPct val="80000"/>
              </a:lnSpc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What is</a:t>
            </a:r>
          </a:p>
          <a:p>
            <a:pPr algn="ctr">
              <a:lnSpc>
                <a:spcPct val="80000"/>
              </a:lnSpc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Going to</a:t>
            </a:r>
          </a:p>
          <a:p>
            <a:pPr algn="ctr">
              <a:lnSpc>
                <a:spcPct val="80000"/>
              </a:lnSpc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Happen?</a:t>
            </a:r>
            <a:endParaRPr lang="he-IL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7010400" y="1241965"/>
            <a:ext cx="1449388" cy="4437063"/>
          </a:xfrm>
          <a:prstGeom prst="rect">
            <a:avLst/>
          </a:prstGeom>
          <a:solidFill>
            <a:schemeClr val="tx1">
              <a:lumMod val="65000"/>
              <a:lumOff val="35000"/>
              <a:alpha val="36000"/>
            </a:schemeClr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>
              <a:lnSpc>
                <a:spcPct val="80000"/>
              </a:lnSpc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How to</a:t>
            </a:r>
          </a:p>
          <a:p>
            <a:pPr algn="ctr">
              <a:lnSpc>
                <a:spcPct val="80000"/>
              </a:lnSpc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Make it </a:t>
            </a:r>
          </a:p>
          <a:p>
            <a:pPr algn="ctr">
              <a:lnSpc>
                <a:spcPct val="80000"/>
              </a:lnSpc>
              <a:defRPr/>
            </a:pP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Happen?</a:t>
            </a:r>
            <a:endParaRPr lang="he-IL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827088" y="1026065"/>
            <a:ext cx="0" cy="4751388"/>
          </a:xfrm>
          <a:prstGeom prst="line">
            <a:avLst/>
          </a:prstGeom>
          <a:ln w="50800"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6"/>
          <p:cNvCxnSpPr>
            <a:cxnSpLocks noChangeShapeType="1"/>
          </p:cNvCxnSpPr>
          <p:nvPr/>
        </p:nvCxnSpPr>
        <p:spPr bwMode="auto">
          <a:xfrm>
            <a:off x="827088" y="5777453"/>
            <a:ext cx="7859712" cy="0"/>
          </a:xfrm>
          <a:prstGeom prst="line">
            <a:avLst/>
          </a:prstGeom>
          <a:noFill/>
          <a:ln w="508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Oval 11"/>
          <p:cNvSpPr/>
          <p:nvPr/>
        </p:nvSpPr>
        <p:spPr bwMode="auto">
          <a:xfrm>
            <a:off x="1042988" y="5129753"/>
            <a:ext cx="433387" cy="431800"/>
          </a:xfrm>
          <a:prstGeom prst="ellipse">
            <a:avLst/>
          </a:prstGeom>
          <a:solidFill>
            <a:srgbClr val="ED193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 eaLnBrk="1" hangingPunct="1">
              <a:lnSpc>
                <a:spcPct val="80000"/>
              </a:lnSpc>
              <a:defRPr/>
            </a:pPr>
            <a:endParaRPr lang="he-IL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TextBox 8"/>
          <p:cNvSpPr txBox="1">
            <a:spLocks noChangeArrowheads="1"/>
          </p:cNvSpPr>
          <p:nvPr/>
        </p:nvSpPr>
        <p:spPr bwMode="auto">
          <a:xfrm>
            <a:off x="395288" y="5791740"/>
            <a:ext cx="1512887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800" dirty="0">
                <a:latin typeface="Calibri" panose="020F0502020204030204" pitchFamily="34" charset="0"/>
              </a:rPr>
              <a:t>Raw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800" dirty="0">
                <a:latin typeface="Calibri" panose="020F0502020204030204" pitchFamily="34" charset="0"/>
              </a:rPr>
              <a:t>Data</a:t>
            </a:r>
            <a:endParaRPr lang="he-IL" sz="1800" dirty="0">
              <a:latin typeface="Calibri" panose="020F0502020204030204" pitchFamily="34" charset="0"/>
            </a:endParaRPr>
          </a:p>
        </p:txBody>
      </p:sp>
      <p:sp>
        <p:nvSpPr>
          <p:cNvPr id="14" name="TextBox 9"/>
          <p:cNvSpPr txBox="1">
            <a:spLocks noChangeArrowheads="1"/>
          </p:cNvSpPr>
          <p:nvPr/>
        </p:nvSpPr>
        <p:spPr bwMode="auto">
          <a:xfrm>
            <a:off x="1763713" y="5815553"/>
            <a:ext cx="1008062" cy="437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400" dirty="0">
                <a:latin typeface="Calibri" panose="020F0502020204030204" pitchFamily="34" charset="0"/>
              </a:rPr>
              <a:t>Op Reports</a:t>
            </a:r>
          </a:p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400" dirty="0">
                <a:latin typeface="Calibri" panose="020F0502020204030204" pitchFamily="34" charset="0"/>
              </a:rPr>
              <a:t>&amp; Queries</a:t>
            </a:r>
            <a:endParaRPr lang="he-IL" sz="1400" dirty="0">
              <a:latin typeface="Calibri" panose="020F0502020204030204" pitchFamily="34" charset="0"/>
            </a:endParaRPr>
          </a:p>
        </p:txBody>
      </p:sp>
      <p:sp>
        <p:nvSpPr>
          <p:cNvPr id="15" name="TextBox 10"/>
          <p:cNvSpPr txBox="1">
            <a:spLocks noChangeArrowheads="1"/>
          </p:cNvSpPr>
          <p:nvPr/>
        </p:nvSpPr>
        <p:spPr bwMode="auto">
          <a:xfrm>
            <a:off x="2916238" y="5831428"/>
            <a:ext cx="996950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800" dirty="0">
                <a:latin typeface="Calibri" panose="020F0502020204030204" pitchFamily="34" charset="0"/>
              </a:rPr>
              <a:t>OLAP</a:t>
            </a:r>
          </a:p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800" dirty="0">
                <a:latin typeface="Calibri" panose="020F0502020204030204" pitchFamily="34" charset="0"/>
              </a:rPr>
              <a:t>&amp; DWH</a:t>
            </a:r>
            <a:endParaRPr lang="he-IL" sz="1800" dirty="0">
              <a:latin typeface="Calibri" panose="020F0502020204030204" pitchFamily="34" charset="0"/>
            </a:endParaRPr>
          </a:p>
        </p:txBody>
      </p:sp>
      <p:sp>
        <p:nvSpPr>
          <p:cNvPr id="16" name="TextBox 11"/>
          <p:cNvSpPr txBox="1">
            <a:spLocks noChangeArrowheads="1"/>
          </p:cNvSpPr>
          <p:nvPr/>
        </p:nvSpPr>
        <p:spPr bwMode="auto">
          <a:xfrm>
            <a:off x="4284663" y="5815553"/>
            <a:ext cx="852487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800" dirty="0" smtClean="0">
                <a:latin typeface="Calibri" panose="020F0502020204030204" pitchFamily="34" charset="0"/>
              </a:rPr>
              <a:t>Data</a:t>
            </a:r>
          </a:p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800" dirty="0" smtClean="0">
                <a:latin typeface="Calibri" panose="020F0502020204030204" pitchFamily="34" charset="0"/>
              </a:rPr>
              <a:t>Mining</a:t>
            </a:r>
            <a:endParaRPr lang="he-IL" sz="1800" dirty="0">
              <a:latin typeface="Calibri" panose="020F0502020204030204" pitchFamily="34" charset="0"/>
            </a:endParaRPr>
          </a:p>
        </p:txBody>
      </p:sp>
      <p:sp>
        <p:nvSpPr>
          <p:cNvPr id="17" name="TextBox 12"/>
          <p:cNvSpPr txBox="1">
            <a:spLocks noChangeArrowheads="1"/>
          </p:cNvSpPr>
          <p:nvPr/>
        </p:nvSpPr>
        <p:spPr bwMode="auto">
          <a:xfrm>
            <a:off x="5580063" y="5831428"/>
            <a:ext cx="1404937" cy="437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400" dirty="0">
                <a:latin typeface="Calibri" panose="020F0502020204030204" pitchFamily="34" charset="0"/>
              </a:rPr>
              <a:t>Trending &amp; Predications</a:t>
            </a:r>
            <a:endParaRPr lang="he-IL" sz="1400" dirty="0">
              <a:latin typeface="Calibri" panose="020F0502020204030204" pitchFamily="34" charset="0"/>
            </a:endParaRPr>
          </a:p>
        </p:txBody>
      </p:sp>
      <p:sp>
        <p:nvSpPr>
          <p:cNvPr id="18" name="TextBox 13"/>
          <p:cNvSpPr txBox="1">
            <a:spLocks noChangeArrowheads="1"/>
          </p:cNvSpPr>
          <p:nvPr/>
        </p:nvSpPr>
        <p:spPr bwMode="auto">
          <a:xfrm>
            <a:off x="7080250" y="5852065"/>
            <a:ext cx="1379538" cy="26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400" dirty="0">
                <a:latin typeface="Calibri" panose="020F0502020204030204" pitchFamily="34" charset="0"/>
              </a:rPr>
              <a:t>Optimizations</a:t>
            </a:r>
            <a:endParaRPr lang="he-IL" sz="1400" dirty="0">
              <a:latin typeface="Calibri" panose="020F0502020204030204" pitchFamily="34" charset="0"/>
            </a:endParaRPr>
          </a:p>
        </p:txBody>
      </p:sp>
      <p:sp>
        <p:nvSpPr>
          <p:cNvPr id="19" name="TextBox 22"/>
          <p:cNvSpPr txBox="1">
            <a:spLocks noChangeArrowheads="1"/>
          </p:cNvSpPr>
          <p:nvPr/>
        </p:nvSpPr>
        <p:spPr bwMode="auto">
          <a:xfrm rot="-5400000">
            <a:off x="263525" y="3435814"/>
            <a:ext cx="768350" cy="317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n-US" sz="1800" dirty="0">
                <a:latin typeface="Calibri" panose="020F0502020204030204" pitchFamily="34" charset="0"/>
              </a:rPr>
              <a:t>Value</a:t>
            </a:r>
            <a:endParaRPr lang="he-IL" sz="1800" dirty="0">
              <a:latin typeface="Calibri" panose="020F0502020204030204" pitchFamily="34" charset="0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900113" y="4985290"/>
            <a:ext cx="647700" cy="650875"/>
          </a:xfrm>
          <a:prstGeom prst="ellipse">
            <a:avLst/>
          </a:prstGeom>
          <a:solidFill>
            <a:srgbClr val="ED193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>
              <a:lnSpc>
                <a:spcPct val="80000"/>
              </a:lnSpc>
              <a:defRPr/>
            </a:pPr>
            <a:endParaRPr lang="he-IL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Oval 20"/>
          <p:cNvSpPr/>
          <p:nvPr/>
        </p:nvSpPr>
        <p:spPr bwMode="auto">
          <a:xfrm>
            <a:off x="893763" y="4839240"/>
            <a:ext cx="865187" cy="863600"/>
          </a:xfrm>
          <a:prstGeom prst="ellipse">
            <a:avLst/>
          </a:prstGeom>
          <a:solidFill>
            <a:srgbClr val="ED193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>
              <a:lnSpc>
                <a:spcPct val="80000"/>
              </a:lnSpc>
              <a:defRPr/>
            </a:pPr>
            <a:endParaRPr lang="he-IL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868363" y="4699540"/>
            <a:ext cx="1008062" cy="1022350"/>
          </a:xfrm>
          <a:prstGeom prst="ellipse">
            <a:avLst/>
          </a:prstGeom>
          <a:solidFill>
            <a:srgbClr val="ED193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>
              <a:lnSpc>
                <a:spcPct val="80000"/>
              </a:lnSpc>
              <a:defRPr/>
            </a:pPr>
            <a:endParaRPr lang="he-IL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850900" y="4678903"/>
            <a:ext cx="1100138" cy="1062037"/>
          </a:xfrm>
          <a:prstGeom prst="ellipse">
            <a:avLst/>
          </a:prstGeom>
          <a:solidFill>
            <a:srgbClr val="ED193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>
              <a:lnSpc>
                <a:spcPct val="80000"/>
              </a:lnSpc>
              <a:defRPr/>
            </a:pPr>
            <a:endParaRPr lang="he-IL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831850" y="4677315"/>
            <a:ext cx="1100138" cy="1063625"/>
          </a:xfrm>
          <a:prstGeom prst="ellipse">
            <a:avLst/>
          </a:prstGeom>
          <a:solidFill>
            <a:srgbClr val="ED193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>
              <a:lnSpc>
                <a:spcPct val="80000"/>
              </a:lnSpc>
              <a:defRPr/>
            </a:pPr>
            <a:endParaRPr lang="he-IL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988449" y="1374273"/>
            <a:ext cx="6175839" cy="3710913"/>
            <a:chOff x="988449" y="1374273"/>
            <a:chExt cx="6175839" cy="3710913"/>
          </a:xfrm>
          <a:solidFill>
            <a:srgbClr val="C00000"/>
          </a:solidFill>
        </p:grpSpPr>
        <p:sp>
          <p:nvSpPr>
            <p:cNvPr id="39" name="Rounded Rectangle 38"/>
            <p:cNvSpPr/>
            <p:nvPr/>
          </p:nvSpPr>
          <p:spPr bwMode="auto">
            <a:xfrm>
              <a:off x="988449" y="1374273"/>
              <a:ext cx="1872208" cy="756696"/>
            </a:xfrm>
            <a:prstGeom prst="round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Operational</a:t>
              </a:r>
            </a:p>
            <a:p>
              <a:pPr marL="0" marR="0" indent="0" algn="ct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Systems</a:t>
              </a:r>
              <a:endParaRPr kumimoji="0" lang="he-IL" sz="18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ight Arrow 39"/>
            <p:cNvSpPr/>
            <p:nvPr/>
          </p:nvSpPr>
          <p:spPr bwMode="auto">
            <a:xfrm>
              <a:off x="2860657" y="1628800"/>
              <a:ext cx="4303631" cy="245395"/>
            </a:xfrm>
            <a:prstGeom prst="rightArrow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he-IL" b="1" dirty="0">
                <a:solidFill>
                  <a:srgbClr val="FFFFFF"/>
                </a:solidFill>
              </a:endParaRPr>
            </a:p>
          </p:txBody>
        </p:sp>
        <p:sp>
          <p:nvSpPr>
            <p:cNvPr id="41" name="Right Arrow 40"/>
            <p:cNvSpPr/>
            <p:nvPr/>
          </p:nvSpPr>
          <p:spPr bwMode="auto">
            <a:xfrm rot="5400000">
              <a:off x="-238794" y="3485380"/>
              <a:ext cx="2954216" cy="245395"/>
            </a:xfrm>
            <a:prstGeom prst="rightArrow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he-IL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452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4.44444E-6 L 0.12987 -0.0282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93" y="-14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1.48148E-6 L 0.23524 -0.08357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53" y="-419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2.22222E-6 L 0.37257 -0.1798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628" y="-9005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7.40741E-7 L 0.52796 -0.3254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389" y="-162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7.40741E-7 L 0.69393 -0.4912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688" y="-245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warehouse and Hadoop – Electricity Company user story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990600" y="3228975"/>
            <a:ext cx="2290761" cy="6096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Manual Meter reading</a:t>
            </a:r>
            <a:endParaRPr lang="en-US" sz="1400" dirty="0"/>
          </a:p>
        </p:txBody>
      </p:sp>
      <p:sp>
        <p:nvSpPr>
          <p:cNvPr id="24" name="Rectangle 23"/>
          <p:cNvSpPr/>
          <p:nvPr/>
        </p:nvSpPr>
        <p:spPr>
          <a:xfrm>
            <a:off x="990600" y="3933825"/>
            <a:ext cx="2290761" cy="6096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Events</a:t>
            </a:r>
            <a:endParaRPr lang="en-US" sz="1400" dirty="0"/>
          </a:p>
        </p:txBody>
      </p:sp>
      <p:sp>
        <p:nvSpPr>
          <p:cNvPr id="26" name="Rectangle 25"/>
          <p:cNvSpPr/>
          <p:nvPr/>
        </p:nvSpPr>
        <p:spPr>
          <a:xfrm>
            <a:off x="990600" y="4638675"/>
            <a:ext cx="2290761" cy="6096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Weather and Survey Data</a:t>
            </a:r>
            <a:endParaRPr lang="en-US" sz="1400" dirty="0"/>
          </a:p>
        </p:txBody>
      </p:sp>
      <p:sp>
        <p:nvSpPr>
          <p:cNvPr id="27" name="Rectangle 26"/>
          <p:cNvSpPr/>
          <p:nvPr/>
        </p:nvSpPr>
        <p:spPr>
          <a:xfrm>
            <a:off x="3357561" y="3228975"/>
            <a:ext cx="1143000" cy="20193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ETL</a:t>
            </a:r>
            <a:endParaRPr lang="en-US" sz="1400" dirty="0"/>
          </a:p>
        </p:txBody>
      </p:sp>
      <p:sp>
        <p:nvSpPr>
          <p:cNvPr id="28" name="Rectangle 27"/>
          <p:cNvSpPr/>
          <p:nvPr/>
        </p:nvSpPr>
        <p:spPr>
          <a:xfrm>
            <a:off x="4576760" y="3228975"/>
            <a:ext cx="1647826" cy="20193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Datawarehouse</a:t>
            </a:r>
            <a:endParaRPr lang="en-US" sz="1400" dirty="0"/>
          </a:p>
        </p:txBody>
      </p:sp>
      <p:sp>
        <p:nvSpPr>
          <p:cNvPr id="29" name="Rectangle 28"/>
          <p:cNvSpPr/>
          <p:nvPr/>
        </p:nvSpPr>
        <p:spPr>
          <a:xfrm>
            <a:off x="3357561" y="2347912"/>
            <a:ext cx="2133600" cy="6096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Meter Data Management System</a:t>
            </a:r>
            <a:endParaRPr lang="en-US" sz="1400" dirty="0"/>
          </a:p>
        </p:txBody>
      </p:sp>
      <p:sp>
        <p:nvSpPr>
          <p:cNvPr id="30" name="Rectangle 29"/>
          <p:cNvSpPr/>
          <p:nvPr/>
        </p:nvSpPr>
        <p:spPr>
          <a:xfrm>
            <a:off x="5538785" y="2347912"/>
            <a:ext cx="1285875" cy="6096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ayments &amp; Collection</a:t>
            </a:r>
            <a:endParaRPr lang="en-US" sz="1400" dirty="0"/>
          </a:p>
        </p:txBody>
      </p:sp>
      <p:sp>
        <p:nvSpPr>
          <p:cNvPr id="31" name="Rectangle 30"/>
          <p:cNvSpPr/>
          <p:nvPr/>
        </p:nvSpPr>
        <p:spPr>
          <a:xfrm>
            <a:off x="6872284" y="2347912"/>
            <a:ext cx="1285875" cy="6096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ustomer Service</a:t>
            </a:r>
            <a:endParaRPr lang="en-US" sz="1400" dirty="0"/>
          </a:p>
        </p:txBody>
      </p:sp>
      <p:sp>
        <p:nvSpPr>
          <p:cNvPr id="32" name="Rectangle 31"/>
          <p:cNvSpPr/>
          <p:nvPr/>
        </p:nvSpPr>
        <p:spPr>
          <a:xfrm>
            <a:off x="6872283" y="3933825"/>
            <a:ext cx="1285875" cy="6096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RM</a:t>
            </a:r>
            <a:endParaRPr lang="en-US" sz="1400" dirty="0"/>
          </a:p>
        </p:txBody>
      </p:sp>
      <p:sp>
        <p:nvSpPr>
          <p:cNvPr id="33" name="Rectangle 32"/>
          <p:cNvSpPr/>
          <p:nvPr/>
        </p:nvSpPr>
        <p:spPr>
          <a:xfrm>
            <a:off x="971547" y="3228975"/>
            <a:ext cx="2309814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HADOOP</a:t>
            </a:r>
            <a:endParaRPr lang="en-US" sz="1400" dirty="0"/>
          </a:p>
        </p:txBody>
      </p:sp>
      <p:sp>
        <p:nvSpPr>
          <p:cNvPr id="34" name="Rectangle 33"/>
          <p:cNvSpPr/>
          <p:nvPr/>
        </p:nvSpPr>
        <p:spPr>
          <a:xfrm>
            <a:off x="971547" y="2347912"/>
            <a:ext cx="1052514" cy="6096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mart Meters</a:t>
            </a:r>
            <a:endParaRPr lang="en-US" sz="1400" dirty="0"/>
          </a:p>
        </p:txBody>
      </p:sp>
      <p:sp>
        <p:nvSpPr>
          <p:cNvPr id="35" name="Rectangle 34"/>
          <p:cNvSpPr/>
          <p:nvPr/>
        </p:nvSpPr>
        <p:spPr>
          <a:xfrm>
            <a:off x="2088354" y="2347912"/>
            <a:ext cx="1188246" cy="6096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ower Generator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46502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warehouse and Hadoop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95325" y="2886075"/>
            <a:ext cx="3095625" cy="9525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 smtClean="0"/>
              <a:t>HDFS</a:t>
            </a:r>
            <a:endParaRPr lang="en-US" sz="4400" dirty="0"/>
          </a:p>
        </p:txBody>
      </p:sp>
      <p:sp>
        <p:nvSpPr>
          <p:cNvPr id="7" name="Rectangle 6"/>
          <p:cNvSpPr/>
          <p:nvPr/>
        </p:nvSpPr>
        <p:spPr>
          <a:xfrm>
            <a:off x="695324" y="2362199"/>
            <a:ext cx="3095625" cy="4476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p Reduc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95323" y="1838323"/>
            <a:ext cx="1228727" cy="4476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ig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019300" y="1838323"/>
            <a:ext cx="1771650" cy="4476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iv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52400" y="1090609"/>
            <a:ext cx="1295400" cy="44767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hout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543050" y="1090608"/>
            <a:ext cx="1333500" cy="44767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egasu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2971800" y="1090609"/>
            <a:ext cx="1333500" cy="44767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Lucen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4400550" y="1090609"/>
            <a:ext cx="457200" cy="44767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867151" y="2886075"/>
            <a:ext cx="1543050" cy="9525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 smtClean="0"/>
              <a:t>Sqoop</a:t>
            </a:r>
            <a:endParaRPr lang="en-US" sz="2400" dirty="0"/>
          </a:p>
        </p:txBody>
      </p:sp>
      <p:sp>
        <p:nvSpPr>
          <p:cNvPr id="15" name="Rectangle 14"/>
          <p:cNvSpPr/>
          <p:nvPr/>
        </p:nvSpPr>
        <p:spPr>
          <a:xfrm>
            <a:off x="695326" y="3914776"/>
            <a:ext cx="3095624" cy="428624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Flume</a:t>
            </a:r>
            <a:endParaRPr lang="en-US" sz="2400" dirty="0"/>
          </a:p>
        </p:txBody>
      </p:sp>
      <p:cxnSp>
        <p:nvCxnSpPr>
          <p:cNvPr id="16" name="Elbow Connector 15"/>
          <p:cNvCxnSpPr>
            <a:stCxn id="7" idx="1"/>
            <a:endCxn id="5" idx="1"/>
          </p:cNvCxnSpPr>
          <p:nvPr/>
        </p:nvCxnSpPr>
        <p:spPr>
          <a:xfrm rot="10800000" flipH="1" flipV="1">
            <a:off x="695323" y="2586037"/>
            <a:ext cx="1" cy="776288"/>
          </a:xfrm>
          <a:prstGeom prst="bentConnector3">
            <a:avLst>
              <a:gd name="adj1" fmla="val -22860000000"/>
            </a:avLst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837674" y="2886075"/>
            <a:ext cx="1943796" cy="9525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/>
              <a:t>(R)DWH</a:t>
            </a:r>
            <a:endParaRPr lang="en-US" sz="3200" dirty="0"/>
          </a:p>
        </p:txBody>
      </p:sp>
      <p:sp>
        <p:nvSpPr>
          <p:cNvPr id="19" name="Rectangle 18"/>
          <p:cNvSpPr/>
          <p:nvPr/>
        </p:nvSpPr>
        <p:spPr>
          <a:xfrm>
            <a:off x="6837674" y="2362199"/>
            <a:ext cx="902976" cy="4476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LAP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7818980" y="2362199"/>
            <a:ext cx="962490" cy="4476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In </a:t>
            </a:r>
            <a:r>
              <a:rPr lang="en-US" sz="1600" dirty="0" err="1" smtClean="0"/>
              <a:t>Mem</a:t>
            </a:r>
            <a:endParaRPr lang="en-US" sz="1600" dirty="0"/>
          </a:p>
        </p:txBody>
      </p:sp>
      <p:sp>
        <p:nvSpPr>
          <p:cNvPr id="21" name="Rectangle 20"/>
          <p:cNvSpPr/>
          <p:nvPr/>
        </p:nvSpPr>
        <p:spPr>
          <a:xfrm>
            <a:off x="6824973" y="1090607"/>
            <a:ext cx="1956497" cy="747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porting &amp; Adv. Analytics</a:t>
            </a:r>
          </a:p>
        </p:txBody>
      </p:sp>
      <p:cxnSp>
        <p:nvCxnSpPr>
          <p:cNvPr id="22" name="Straight Arrow Connector 21"/>
          <p:cNvCxnSpPr>
            <a:stCxn id="14" idx="3"/>
            <a:endCxn id="18" idx="1"/>
          </p:cNvCxnSpPr>
          <p:nvPr/>
        </p:nvCxnSpPr>
        <p:spPr>
          <a:xfrm>
            <a:off x="5410201" y="3362325"/>
            <a:ext cx="1427473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" name="Content Placeholder 2"/>
          <p:cNvSpPr>
            <a:spLocks noGrp="1"/>
          </p:cNvSpPr>
          <p:nvPr>
            <p:ph sz="quarter" idx="10"/>
          </p:nvPr>
        </p:nvSpPr>
        <p:spPr>
          <a:xfrm>
            <a:off x="180990" y="4391025"/>
            <a:ext cx="8600480" cy="1981199"/>
          </a:xfrm>
        </p:spPr>
        <p:txBody>
          <a:bodyPr/>
          <a:lstStyle/>
          <a:p>
            <a:r>
              <a:rPr lang="en-US" sz="2400" dirty="0" smtClean="0"/>
              <a:t>Integrating relational DW with Hadoop</a:t>
            </a:r>
          </a:p>
          <a:p>
            <a:pPr marL="628650" lvl="1" indent="-342900"/>
            <a:r>
              <a:rPr lang="en-US" sz="2400" dirty="0" smtClean="0"/>
              <a:t>Complex analysis results are kept as CSV</a:t>
            </a:r>
          </a:p>
          <a:p>
            <a:pPr marL="628650" lvl="1" indent="-342900"/>
            <a:r>
              <a:rPr lang="en-US" sz="2400" dirty="0" err="1" smtClean="0"/>
              <a:t>Sqoop</a:t>
            </a:r>
            <a:r>
              <a:rPr lang="en-US" sz="2400" dirty="0" smtClean="0"/>
              <a:t> allows extraction of then to the DWH</a:t>
            </a:r>
          </a:p>
          <a:p>
            <a:pPr marL="628650" lvl="1" indent="-342900"/>
            <a:r>
              <a:rPr lang="en-US" sz="2400" dirty="0" smtClean="0"/>
              <a:t>Users can analyze data using their BI tools</a:t>
            </a:r>
          </a:p>
        </p:txBody>
      </p:sp>
    </p:spTree>
    <p:extLst>
      <p:ext uri="{BB962C8B-B14F-4D97-AF65-F5344CB8AC3E}">
        <p14:creationId xmlns:p14="http://schemas.microsoft.com/office/powerpoint/2010/main" val="2158723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warehouse and Hadoop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049" y="1585568"/>
            <a:ext cx="8427540" cy="3886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175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423" y="989402"/>
            <a:ext cx="7128792" cy="5397215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721543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53159" y="3224163"/>
            <a:ext cx="83272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6">
                    <a:lumMod val="50000"/>
                  </a:schemeClr>
                </a:solidFill>
              </a:rPr>
              <a:t>Data Mining and Advanced Analytics</a:t>
            </a:r>
            <a:endParaRPr lang="en-US" sz="2800" b="1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792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/>
          <p:cNvGrpSpPr/>
          <p:nvPr/>
        </p:nvGrpSpPr>
        <p:grpSpPr>
          <a:xfrm>
            <a:off x="3605430" y="1028818"/>
            <a:ext cx="1624184" cy="5315600"/>
            <a:chOff x="3533422" y="957565"/>
            <a:chExt cx="1624184" cy="5315600"/>
          </a:xfrm>
        </p:grpSpPr>
        <p:grpSp>
          <p:nvGrpSpPr>
            <p:cNvPr id="46" name="Group 45"/>
            <p:cNvGrpSpPr/>
            <p:nvPr/>
          </p:nvGrpSpPr>
          <p:grpSpPr>
            <a:xfrm>
              <a:off x="3533422" y="957565"/>
              <a:ext cx="1553176" cy="5315600"/>
              <a:chOff x="3681340" y="980728"/>
              <a:chExt cx="1553176" cy="5315600"/>
            </a:xfrm>
          </p:grpSpPr>
          <p:sp>
            <p:nvSpPr>
              <p:cNvPr id="52" name="Rectangle 51"/>
              <p:cNvSpPr/>
              <p:nvPr>
                <p:custDataLst>
                  <p:tags r:id="rId13"/>
                </p:custDataLst>
              </p:nvPr>
            </p:nvSpPr>
            <p:spPr bwMode="auto">
              <a:xfrm>
                <a:off x="3681340" y="1476435"/>
                <a:ext cx="1553176" cy="4819893"/>
              </a:xfrm>
              <a:prstGeom prst="rect">
                <a:avLst/>
              </a:prstGeom>
              <a:solidFill>
                <a:srgbClr val="46464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91440" tIns="45718" rIns="91440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23"/>
                <a:endParaRPr lang="en-US" sz="2000" dirty="0">
                  <a:solidFill>
                    <a:schemeClr val="bg1">
                      <a:alpha val="99000"/>
                    </a:schemeClr>
                  </a:solidFill>
                </a:endParaRPr>
              </a:p>
            </p:txBody>
          </p:sp>
          <p:sp>
            <p:nvSpPr>
              <p:cNvPr id="53" name="Rectangle 52"/>
              <p:cNvSpPr/>
              <p:nvPr>
                <p:custDataLst>
                  <p:tags r:id="rId14"/>
                </p:custDataLst>
              </p:nvPr>
            </p:nvSpPr>
            <p:spPr bwMode="auto">
              <a:xfrm>
                <a:off x="3683312" y="980728"/>
                <a:ext cx="1551204" cy="502722"/>
              </a:xfrm>
              <a:prstGeom prst="rect">
                <a:avLst/>
              </a:prstGeom>
              <a:solidFill>
                <a:srgbClr val="ED193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91440" tIns="45718" rIns="91440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23"/>
                <a:r>
                  <a:rPr lang="en-US" sz="1600" dirty="0" smtClean="0">
                    <a:solidFill>
                      <a:schemeClr val="bg1">
                        <a:alpha val="99000"/>
                      </a:schemeClr>
                    </a:solidFill>
                  </a:rPr>
                  <a:t>DWH</a:t>
                </a:r>
              </a:p>
            </p:txBody>
          </p:sp>
          <p:pic>
            <p:nvPicPr>
              <p:cNvPr id="54" name="Picture 9"/>
              <p:cNvPicPr>
                <a:picLocks noChangeAspect="1" noChangeArrowheads="1"/>
              </p:cNvPicPr>
              <p:nvPr>
                <p:custDataLst>
                  <p:tags r:id="rId15"/>
                </p:custDataLst>
              </p:nvPr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3814" y="3070583"/>
                <a:ext cx="729378" cy="144781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5" name="Picture 9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47910" y="2420888"/>
                <a:ext cx="393368" cy="7808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6" name="Picture 9"/>
              <p:cNvPicPr>
                <a:picLocks noChangeAspect="1" noChangeArrowheads="1"/>
              </p:cNvPicPr>
              <p:nvPr>
                <p:custDataLst>
                  <p:tags r:id="rId17"/>
                </p:custDataLst>
              </p:nvPr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27683" y="3347129"/>
                <a:ext cx="429644" cy="8528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7" name="Picture 9"/>
              <p:cNvPicPr>
                <a:picLocks noChangeAspect="1" noChangeArrowheads="1"/>
              </p:cNvPicPr>
              <p:nvPr>
                <p:custDataLst>
                  <p:tags r:id="rId18"/>
                </p:custDataLst>
              </p:nvPr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25554" y="4345378"/>
                <a:ext cx="429644" cy="8528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47" name="Rectangle 46"/>
            <p:cNvSpPr/>
            <p:nvPr/>
          </p:nvSpPr>
          <p:spPr>
            <a:xfrm>
              <a:off x="3607146" y="2744005"/>
              <a:ext cx="7360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DWH</a:t>
              </a:r>
              <a:endParaRPr lang="he-IL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4221132" y="2175378"/>
              <a:ext cx="93647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Data Marts</a:t>
              </a:r>
              <a:endParaRPr lang="he-IL" sz="1200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6835248" y="1035844"/>
            <a:ext cx="1553176" cy="5308574"/>
            <a:chOff x="6835248" y="964591"/>
            <a:chExt cx="1553176" cy="5308574"/>
          </a:xfrm>
        </p:grpSpPr>
        <p:grpSp>
          <p:nvGrpSpPr>
            <p:cNvPr id="70" name="Group 69"/>
            <p:cNvGrpSpPr/>
            <p:nvPr/>
          </p:nvGrpSpPr>
          <p:grpSpPr>
            <a:xfrm>
              <a:off x="6835248" y="964591"/>
              <a:ext cx="1553176" cy="5308574"/>
              <a:chOff x="6763240" y="964591"/>
              <a:chExt cx="1553176" cy="5308574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6763240" y="964591"/>
                <a:ext cx="1553176" cy="5308574"/>
                <a:chOff x="6837220" y="980728"/>
                <a:chExt cx="1553176" cy="5308574"/>
              </a:xfrm>
            </p:grpSpPr>
            <p:sp>
              <p:nvSpPr>
                <p:cNvPr id="78" name="Rectangle 77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6837220" y="1469409"/>
                  <a:ext cx="1553176" cy="4819893"/>
                </a:xfrm>
                <a:prstGeom prst="rect">
                  <a:avLst/>
                </a:prstGeom>
                <a:solidFill>
                  <a:srgbClr val="46464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40" tIns="45718" rIns="91440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23"/>
                  <a:endParaRPr lang="en-US" sz="2000" dirty="0">
                    <a:solidFill>
                      <a:schemeClr val="bg1">
                        <a:alpha val="99000"/>
                      </a:schemeClr>
                    </a:solidFill>
                  </a:endParaRPr>
                </a:p>
              </p:txBody>
            </p:sp>
            <p:sp>
              <p:nvSpPr>
                <p:cNvPr id="79" name="Rectangle 78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6837220" y="980728"/>
                  <a:ext cx="1551204" cy="496956"/>
                </a:xfrm>
                <a:prstGeom prst="rect">
                  <a:avLst/>
                </a:prstGeom>
                <a:solidFill>
                  <a:srgbClr val="ED193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40" tIns="45718" rIns="91440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23"/>
                  <a:r>
                    <a:rPr lang="en-US" sz="1600" dirty="0" smtClean="0">
                      <a:solidFill>
                        <a:schemeClr val="bg1">
                          <a:alpha val="99000"/>
                        </a:schemeClr>
                      </a:solidFill>
                    </a:rPr>
                    <a:t>Presentation</a:t>
                  </a:r>
                  <a:endParaRPr lang="en-US" sz="1600" dirty="0">
                    <a:solidFill>
                      <a:schemeClr val="bg1">
                        <a:alpha val="99000"/>
                      </a:schemeClr>
                    </a:solidFill>
                  </a:endParaRPr>
                </a:p>
              </p:txBody>
            </p:sp>
            <p:pic>
              <p:nvPicPr>
                <p:cNvPr id="80" name="Picture 79"/>
                <p:cNvPicPr>
                  <a:picLocks noChangeAspect="1"/>
                </p:cNvPicPr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7372955" y="1765574"/>
                  <a:ext cx="507419" cy="622335"/>
                </a:xfrm>
                <a:prstGeom prst="rect">
                  <a:avLst/>
                </a:prstGeom>
              </p:spPr>
            </p:pic>
            <p:pic>
              <p:nvPicPr>
                <p:cNvPr id="81" name="Picture 80"/>
                <p:cNvPicPr>
                  <a:picLocks noChangeAspect="1"/>
                </p:cNvPicPr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7347346" y="2838831"/>
                  <a:ext cx="493564" cy="470185"/>
                </a:xfrm>
                <a:prstGeom prst="rect">
                  <a:avLst/>
                </a:prstGeom>
              </p:spPr>
            </p:pic>
            <p:pic>
              <p:nvPicPr>
                <p:cNvPr id="82" name="Picture 81"/>
                <p:cNvPicPr>
                  <a:picLocks noChangeAspect="1"/>
                </p:cNvPicPr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7081084" y="3744997"/>
                  <a:ext cx="1135651" cy="1040591"/>
                </a:xfrm>
                <a:prstGeom prst="rect">
                  <a:avLst/>
                </a:prstGeom>
              </p:spPr>
            </p:pic>
            <p:sp>
              <p:nvSpPr>
                <p:cNvPr id="83" name="Rectangle 82"/>
                <p:cNvSpPr/>
                <p:nvPr/>
              </p:nvSpPr>
              <p:spPr bwMode="auto">
                <a:xfrm>
                  <a:off x="6970508" y="3712265"/>
                  <a:ext cx="1296144" cy="1126767"/>
                </a:xfrm>
                <a:prstGeom prst="rect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he-IL" sz="1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75" name="Rectangle 74"/>
              <p:cNvSpPr/>
              <p:nvPr/>
            </p:nvSpPr>
            <p:spPr>
              <a:xfrm>
                <a:off x="7185154" y="1484784"/>
                <a:ext cx="70737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Reports</a:t>
                </a:r>
                <a:endParaRPr lang="he-IL" sz="1200" dirty="0">
                  <a:latin typeface="Gisha" panose="020B0502040204020203" pitchFamily="34" charset="-79"/>
                  <a:cs typeface="Gisha" panose="020B0502040204020203" pitchFamily="34" charset="-79"/>
                </a:endParaRPr>
              </a:p>
            </p:txBody>
          </p:sp>
          <p:sp>
            <p:nvSpPr>
              <p:cNvPr id="76" name="Rectangle 75"/>
              <p:cNvSpPr/>
              <p:nvPr/>
            </p:nvSpPr>
            <p:spPr>
              <a:xfrm>
                <a:off x="6993749" y="3429000"/>
                <a:ext cx="98687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Dashboards</a:t>
                </a:r>
                <a:endParaRPr lang="he-IL" sz="1200" dirty="0">
                  <a:latin typeface="Gisha" panose="020B0502040204020203" pitchFamily="34" charset="-79"/>
                  <a:cs typeface="Gisha" panose="020B0502040204020203" pitchFamily="34" charset="-79"/>
                </a:endParaRP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7020272" y="2564904"/>
                <a:ext cx="964881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Forecasting</a:t>
                </a:r>
                <a:endParaRPr lang="he-IL" sz="1200" dirty="0">
                  <a:latin typeface="Gisha" panose="020B0502040204020203" pitchFamily="34" charset="-79"/>
                  <a:cs typeface="Gisha" panose="020B0502040204020203" pitchFamily="34" charset="-79"/>
                </a:endParaRPr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7259255" y="5175055"/>
              <a:ext cx="808134" cy="808134"/>
              <a:chOff x="7259255" y="5175055"/>
              <a:chExt cx="808134" cy="808134"/>
            </a:xfrm>
          </p:grpSpPr>
          <p:pic>
            <p:nvPicPr>
              <p:cNvPr id="72" name="Picture 71"/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7259255" y="5175055"/>
                <a:ext cx="808134" cy="808134"/>
              </a:xfrm>
              <a:prstGeom prst="rect">
                <a:avLst/>
              </a:prstGeom>
            </p:spPr>
          </p:pic>
          <p:sp>
            <p:nvSpPr>
              <p:cNvPr id="73" name="Rectangle 72"/>
              <p:cNvSpPr/>
              <p:nvPr/>
            </p:nvSpPr>
            <p:spPr>
              <a:xfrm>
                <a:off x="7417879" y="5410453"/>
                <a:ext cx="487634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600" dirty="0" smtClean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API</a:t>
                </a:r>
                <a:endParaRPr lang="he-IL" sz="1600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7533871" y="5820260"/>
            <a:ext cx="8123238" cy="563562"/>
          </a:xfrm>
        </p:spPr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Tiers of the classical BI system</a:t>
            </a:r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2095248" y="1028818"/>
            <a:ext cx="1439174" cy="5308575"/>
            <a:chOff x="2233006" y="980728"/>
            <a:chExt cx="1439174" cy="5308575"/>
          </a:xfrm>
        </p:grpSpPr>
        <p:sp>
          <p:nvSpPr>
            <p:cNvPr id="20" name="Rectangle 19"/>
            <p:cNvSpPr/>
            <p:nvPr>
              <p:custDataLst>
                <p:tags r:id="rId9"/>
              </p:custDataLst>
            </p:nvPr>
          </p:nvSpPr>
          <p:spPr bwMode="auto">
            <a:xfrm>
              <a:off x="2233006" y="1469410"/>
              <a:ext cx="1437631" cy="48198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20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21" name="Rectangle 20"/>
            <p:cNvSpPr/>
            <p:nvPr>
              <p:custDataLst>
                <p:tags r:id="rId10"/>
              </p:custDataLst>
            </p:nvPr>
          </p:nvSpPr>
          <p:spPr bwMode="auto">
            <a:xfrm>
              <a:off x="2233992" y="980728"/>
              <a:ext cx="1438188" cy="502722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Staging</a:t>
              </a:r>
            </a:p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Integration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5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colorTemperature colorTemp="112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329018" y="3025974"/>
              <a:ext cx="1306878" cy="1568350"/>
            </a:xfrm>
            <a:prstGeom prst="rect">
              <a:avLst/>
            </a:prstGeom>
          </p:spPr>
        </p:pic>
      </p:grpSp>
      <p:grpSp>
        <p:nvGrpSpPr>
          <p:cNvPr id="23" name="Group 22"/>
          <p:cNvGrpSpPr/>
          <p:nvPr/>
        </p:nvGrpSpPr>
        <p:grpSpPr>
          <a:xfrm>
            <a:off x="910134" y="1019420"/>
            <a:ext cx="1107244" cy="5310237"/>
            <a:chOff x="1115616" y="980728"/>
            <a:chExt cx="1107244" cy="5310237"/>
          </a:xfrm>
        </p:grpSpPr>
        <p:sp>
          <p:nvSpPr>
            <p:cNvPr id="24" name="Rectangle 23"/>
            <p:cNvSpPr/>
            <p:nvPr>
              <p:custDataLst>
                <p:tags r:id="rId3"/>
              </p:custDataLst>
            </p:nvPr>
          </p:nvSpPr>
          <p:spPr bwMode="auto">
            <a:xfrm>
              <a:off x="1115884" y="1471072"/>
              <a:ext cx="1106975" cy="48198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20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4"/>
              </p:custDataLst>
            </p:nvPr>
          </p:nvSpPr>
          <p:spPr>
            <a:xfrm>
              <a:off x="1313890" y="1520699"/>
              <a:ext cx="774827" cy="2769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Servers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26" name="Picture 9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6971" y="1767271"/>
              <a:ext cx="304961" cy="60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" name="Picture 6" descr="\\MAGNUM\Projects\Microsoft\Cloud Power FY12\Design\ICONS_PNG\Cloud.png"/>
            <p:cNvPicPr>
              <a:picLocks noChangeAspect="1" noChangeArrowheads="1"/>
            </p:cNvPicPr>
            <p:nvPr/>
          </p:nvPicPr>
          <p:blipFill rotWithShape="1">
            <a:blip r:embed="rId28" cstate="print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8577" b="17361"/>
            <a:stretch/>
          </p:blipFill>
          <p:spPr bwMode="auto">
            <a:xfrm>
              <a:off x="1194368" y="3710442"/>
              <a:ext cx="1003996" cy="605351"/>
            </a:xfrm>
            <a:prstGeom prst="rect">
              <a:avLst/>
            </a:prstGeom>
            <a:noFill/>
          </p:spPr>
        </p:pic>
        <p:sp>
          <p:nvSpPr>
            <p:cNvPr id="28" name="TextBox 27"/>
            <p:cNvSpPr txBox="1"/>
            <p:nvPr>
              <p:custDataLst>
                <p:tags r:id="rId6"/>
              </p:custDataLst>
            </p:nvPr>
          </p:nvSpPr>
          <p:spPr>
            <a:xfrm>
              <a:off x="1152886" y="3288993"/>
              <a:ext cx="1069973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Cloud \ Web </a:t>
              </a:r>
            </a:p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Services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1472584" y="2755214"/>
              <a:ext cx="420462" cy="403644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>
              <p:custDataLst>
                <p:tags r:id="rId7"/>
              </p:custDataLst>
            </p:nvPr>
          </p:nvSpPr>
          <p:spPr>
            <a:xfrm>
              <a:off x="1269655" y="2331192"/>
              <a:ext cx="902875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Flat files &amp;</a:t>
              </a:r>
            </a:p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Excel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336863" y="4362110"/>
              <a:ext cx="611065" cy="842607"/>
              <a:chOff x="2152157" y="3113822"/>
              <a:chExt cx="611065" cy="842607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30"/>
              <a:stretch>
                <a:fillRect/>
              </a:stretch>
            </p:blipFill>
            <p:spPr>
              <a:xfrm>
                <a:off x="2257637" y="3461165"/>
                <a:ext cx="392996" cy="394180"/>
              </a:xfrm>
              <a:prstGeom prst="rect">
                <a:avLst/>
              </a:prstGeom>
            </p:spPr>
          </p:pic>
          <p:sp>
            <p:nvSpPr>
              <p:cNvPr id="34" name="Rectangle 33"/>
              <p:cNvSpPr/>
              <p:nvPr/>
            </p:nvSpPr>
            <p:spPr bwMode="auto">
              <a:xfrm>
                <a:off x="2157397" y="3370516"/>
                <a:ext cx="555599" cy="585913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TextBox 34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2152157" y="3113822"/>
                <a:ext cx="611065" cy="276999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>
                        <a:alpha val="99000"/>
                      </a:schemeClr>
                    </a:solidFill>
                  </a:rPr>
                  <a:t>F</a:t>
                </a:r>
                <a:r>
                  <a:rPr lang="en-US" sz="1200" dirty="0" smtClean="0">
                    <a:solidFill>
                      <a:schemeClr val="bg1">
                        <a:alpha val="99000"/>
                      </a:schemeClr>
                    </a:solidFill>
                  </a:rPr>
                  <a:t>eeds</a:t>
                </a:r>
              </a:p>
            </p:txBody>
          </p:sp>
        </p:grpSp>
        <p:sp>
          <p:nvSpPr>
            <p:cNvPr id="32" name="Rectangle 31"/>
            <p:cNvSpPr/>
            <p:nvPr/>
          </p:nvSpPr>
          <p:spPr bwMode="auto">
            <a:xfrm>
              <a:off x="1115616" y="980728"/>
              <a:ext cx="1107244" cy="502920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Data</a:t>
              </a:r>
            </a:p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Sources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230614" y="1034182"/>
            <a:ext cx="1553176" cy="5310237"/>
            <a:chOff x="5158606" y="962929"/>
            <a:chExt cx="1553176" cy="5310237"/>
          </a:xfrm>
          <a:effectLst/>
        </p:grpSpPr>
        <p:sp>
          <p:nvSpPr>
            <p:cNvPr id="37" name="Rectangle 36"/>
            <p:cNvSpPr/>
            <p:nvPr>
              <p:custDataLst>
                <p:tags r:id="rId1"/>
              </p:custDataLst>
            </p:nvPr>
          </p:nvSpPr>
          <p:spPr bwMode="auto">
            <a:xfrm>
              <a:off x="5158606" y="964592"/>
              <a:ext cx="1553176" cy="5308574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14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38" name="Rectangle 37"/>
            <p:cNvSpPr/>
            <p:nvPr>
              <p:custDataLst>
                <p:tags r:id="rId2"/>
              </p:custDataLst>
            </p:nvPr>
          </p:nvSpPr>
          <p:spPr bwMode="auto">
            <a:xfrm>
              <a:off x="5160578" y="962929"/>
              <a:ext cx="1551204" cy="496956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Analysis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5529194" y="3105202"/>
              <a:ext cx="805545" cy="844292"/>
            </a:xfrm>
            <a:prstGeom prst="rect">
              <a:avLst/>
            </a:prstGeom>
          </p:spPr>
        </p:pic>
        <p:grpSp>
          <p:nvGrpSpPr>
            <p:cNvPr id="40" name="Group 39"/>
            <p:cNvGrpSpPr/>
            <p:nvPr/>
          </p:nvGrpSpPr>
          <p:grpSpPr>
            <a:xfrm>
              <a:off x="5501261" y="4389711"/>
              <a:ext cx="781117" cy="785593"/>
              <a:chOff x="5436096" y="3895725"/>
              <a:chExt cx="781117" cy="785593"/>
            </a:xfrm>
          </p:grpSpPr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2"/>
              <a:stretch>
                <a:fillRect/>
              </a:stretch>
            </p:blipFill>
            <p:spPr>
              <a:xfrm>
                <a:off x="5484283" y="3938991"/>
                <a:ext cx="732930" cy="742327"/>
              </a:xfrm>
              <a:prstGeom prst="rect">
                <a:avLst/>
              </a:prstGeom>
            </p:spPr>
          </p:pic>
          <p:sp>
            <p:nvSpPr>
              <p:cNvPr id="44" name="Rectangle 43"/>
              <p:cNvSpPr/>
              <p:nvPr/>
            </p:nvSpPr>
            <p:spPr bwMode="auto">
              <a:xfrm>
                <a:off x="5436096" y="3895725"/>
                <a:ext cx="781117" cy="785593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1" name="Rectangle 40"/>
            <p:cNvSpPr/>
            <p:nvPr/>
          </p:nvSpPr>
          <p:spPr>
            <a:xfrm>
              <a:off x="5631476" y="2855926"/>
              <a:ext cx="5625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OLAP</a:t>
              </a:r>
              <a:endParaRPr lang="he-IL" sz="1200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5385911" y="4128573"/>
              <a:ext cx="101181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Data Mining</a:t>
              </a:r>
              <a:endParaRPr lang="he-IL" sz="1200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926420" y="5454627"/>
            <a:ext cx="5853598" cy="932341"/>
            <a:chOff x="838126" y="2771579"/>
            <a:chExt cx="5923141" cy="1500515"/>
          </a:xfrm>
          <a:solidFill>
            <a:srgbClr val="ED1933"/>
          </a:solidFill>
        </p:grpSpPr>
        <p:sp>
          <p:nvSpPr>
            <p:cNvPr id="59" name="Right Arrow 58"/>
            <p:cNvSpPr/>
            <p:nvPr/>
          </p:nvSpPr>
          <p:spPr>
            <a:xfrm rot="10800000" flipH="1">
              <a:off x="838126" y="2771579"/>
              <a:ext cx="5923141" cy="1500515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1693937" y="3140968"/>
              <a:ext cx="4749543" cy="767607"/>
              <a:chOff x="1693937" y="3140968"/>
              <a:chExt cx="4749543" cy="767607"/>
            </a:xfrm>
            <a:grpFill/>
          </p:grpSpPr>
          <p:grpSp>
            <p:nvGrpSpPr>
              <p:cNvPr id="61" name="Group 60"/>
              <p:cNvGrpSpPr/>
              <p:nvPr/>
            </p:nvGrpSpPr>
            <p:grpSpPr>
              <a:xfrm>
                <a:off x="1693937" y="3140968"/>
                <a:ext cx="754619" cy="767607"/>
                <a:chOff x="2780429" y="1227668"/>
                <a:chExt cx="4276132" cy="4522708"/>
              </a:xfrm>
              <a:grpFill/>
            </p:grpSpPr>
            <p:sp>
              <p:nvSpPr>
                <p:cNvPr id="63" name="Freeform 62"/>
                <p:cNvSpPr/>
                <p:nvPr/>
              </p:nvSpPr>
              <p:spPr>
                <a:xfrm>
                  <a:off x="4368797" y="3225801"/>
                  <a:ext cx="1767548" cy="2235196"/>
                </a:xfrm>
                <a:custGeom>
                  <a:avLst/>
                  <a:gdLst>
                    <a:gd name="connsiteX0" fmla="*/ 1586555 w 2235200"/>
                    <a:gd name="connsiteY0" fmla="*/ 356377 h 2235200"/>
                    <a:gd name="connsiteX1" fmla="*/ 1760418 w 2235200"/>
                    <a:gd name="connsiteY1" fmla="*/ 210481 h 2235200"/>
                    <a:gd name="connsiteX2" fmla="*/ 1899314 w 2235200"/>
                    <a:gd name="connsiteY2" fmla="*/ 327029 h 2235200"/>
                    <a:gd name="connsiteX3" fmla="*/ 1785825 w 2235200"/>
                    <a:gd name="connsiteY3" fmla="*/ 523585 h 2235200"/>
                    <a:gd name="connsiteX4" fmla="*/ 1966144 w 2235200"/>
                    <a:gd name="connsiteY4" fmla="*/ 835907 h 2235200"/>
                    <a:gd name="connsiteX5" fmla="*/ 2193112 w 2235200"/>
                    <a:gd name="connsiteY5" fmla="*/ 835901 h 2235200"/>
                    <a:gd name="connsiteX6" fmla="*/ 2224597 w 2235200"/>
                    <a:gd name="connsiteY6" fmla="*/ 1014463 h 2235200"/>
                    <a:gd name="connsiteX7" fmla="*/ 2011316 w 2235200"/>
                    <a:gd name="connsiteY7" fmla="*/ 1092085 h 2235200"/>
                    <a:gd name="connsiteX8" fmla="*/ 1948692 w 2235200"/>
                    <a:gd name="connsiteY8" fmla="*/ 1447245 h 2235200"/>
                    <a:gd name="connsiteX9" fmla="*/ 2122562 w 2235200"/>
                    <a:gd name="connsiteY9" fmla="*/ 1593132 h 2235200"/>
                    <a:gd name="connsiteX10" fmla="*/ 2031904 w 2235200"/>
                    <a:gd name="connsiteY10" fmla="*/ 1750157 h 2235200"/>
                    <a:gd name="connsiteX11" fmla="*/ 1818627 w 2235200"/>
                    <a:gd name="connsiteY11" fmla="*/ 1672524 h 2235200"/>
                    <a:gd name="connsiteX12" fmla="*/ 1542362 w 2235200"/>
                    <a:gd name="connsiteY12" fmla="*/ 1904338 h 2235200"/>
                    <a:gd name="connsiteX13" fmla="*/ 1581780 w 2235200"/>
                    <a:gd name="connsiteY13" fmla="*/ 2127856 h 2235200"/>
                    <a:gd name="connsiteX14" fmla="*/ 1411398 w 2235200"/>
                    <a:gd name="connsiteY14" fmla="*/ 2189870 h 2235200"/>
                    <a:gd name="connsiteX15" fmla="*/ 1297919 w 2235200"/>
                    <a:gd name="connsiteY15" fmla="*/ 1993308 h 2235200"/>
                    <a:gd name="connsiteX16" fmla="*/ 937280 w 2235200"/>
                    <a:gd name="connsiteY16" fmla="*/ 1993308 h 2235200"/>
                    <a:gd name="connsiteX17" fmla="*/ 823802 w 2235200"/>
                    <a:gd name="connsiteY17" fmla="*/ 2189870 h 2235200"/>
                    <a:gd name="connsiteX18" fmla="*/ 653420 w 2235200"/>
                    <a:gd name="connsiteY18" fmla="*/ 2127856 h 2235200"/>
                    <a:gd name="connsiteX19" fmla="*/ 692839 w 2235200"/>
                    <a:gd name="connsiteY19" fmla="*/ 1904338 h 2235200"/>
                    <a:gd name="connsiteX20" fmla="*/ 416574 w 2235200"/>
                    <a:gd name="connsiteY20" fmla="*/ 1672524 h 2235200"/>
                    <a:gd name="connsiteX21" fmla="*/ 203296 w 2235200"/>
                    <a:gd name="connsiteY21" fmla="*/ 1750157 h 2235200"/>
                    <a:gd name="connsiteX22" fmla="*/ 112638 w 2235200"/>
                    <a:gd name="connsiteY22" fmla="*/ 1593132 h 2235200"/>
                    <a:gd name="connsiteX23" fmla="*/ 286508 w 2235200"/>
                    <a:gd name="connsiteY23" fmla="*/ 1447245 h 2235200"/>
                    <a:gd name="connsiteX24" fmla="*/ 223884 w 2235200"/>
                    <a:gd name="connsiteY24" fmla="*/ 1092085 h 2235200"/>
                    <a:gd name="connsiteX25" fmla="*/ 10603 w 2235200"/>
                    <a:gd name="connsiteY25" fmla="*/ 1014463 h 2235200"/>
                    <a:gd name="connsiteX26" fmla="*/ 42088 w 2235200"/>
                    <a:gd name="connsiteY26" fmla="*/ 835901 h 2235200"/>
                    <a:gd name="connsiteX27" fmla="*/ 269055 w 2235200"/>
                    <a:gd name="connsiteY27" fmla="*/ 835907 h 2235200"/>
                    <a:gd name="connsiteX28" fmla="*/ 449374 w 2235200"/>
                    <a:gd name="connsiteY28" fmla="*/ 523585 h 2235200"/>
                    <a:gd name="connsiteX29" fmla="*/ 335886 w 2235200"/>
                    <a:gd name="connsiteY29" fmla="*/ 327029 h 2235200"/>
                    <a:gd name="connsiteX30" fmla="*/ 474782 w 2235200"/>
                    <a:gd name="connsiteY30" fmla="*/ 210481 h 2235200"/>
                    <a:gd name="connsiteX31" fmla="*/ 648645 w 2235200"/>
                    <a:gd name="connsiteY31" fmla="*/ 356377 h 2235200"/>
                    <a:gd name="connsiteX32" fmla="*/ 987535 w 2235200"/>
                    <a:gd name="connsiteY32" fmla="*/ 233031 h 2235200"/>
                    <a:gd name="connsiteX33" fmla="*/ 1026942 w 2235200"/>
                    <a:gd name="connsiteY33" fmla="*/ 9511 h 2235200"/>
                    <a:gd name="connsiteX34" fmla="*/ 1208258 w 2235200"/>
                    <a:gd name="connsiteY34" fmla="*/ 9511 h 2235200"/>
                    <a:gd name="connsiteX35" fmla="*/ 1247665 w 2235200"/>
                    <a:gd name="connsiteY35" fmla="*/ 233031 h 2235200"/>
                    <a:gd name="connsiteX36" fmla="*/ 1586555 w 2235200"/>
                    <a:gd name="connsiteY36" fmla="*/ 356377 h 2235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2235200" h="2235200">
                      <a:moveTo>
                        <a:pt x="1586555" y="356377"/>
                      </a:moveTo>
                      <a:lnTo>
                        <a:pt x="1760418" y="210481"/>
                      </a:lnTo>
                      <a:lnTo>
                        <a:pt x="1899314" y="327029"/>
                      </a:lnTo>
                      <a:lnTo>
                        <a:pt x="1785825" y="523585"/>
                      </a:lnTo>
                      <a:cubicBezTo>
                        <a:pt x="1866522" y="614364"/>
                        <a:pt x="1927876" y="720632"/>
                        <a:pt x="1966144" y="835907"/>
                      </a:cubicBezTo>
                      <a:lnTo>
                        <a:pt x="2193112" y="835901"/>
                      </a:lnTo>
                      <a:lnTo>
                        <a:pt x="2224597" y="1014463"/>
                      </a:lnTo>
                      <a:lnTo>
                        <a:pt x="2011316" y="1092085"/>
                      </a:lnTo>
                      <a:cubicBezTo>
                        <a:pt x="2014782" y="1213496"/>
                        <a:pt x="1993474" y="1334341"/>
                        <a:pt x="1948692" y="1447245"/>
                      </a:cubicBezTo>
                      <a:lnTo>
                        <a:pt x="2122562" y="1593132"/>
                      </a:lnTo>
                      <a:lnTo>
                        <a:pt x="2031904" y="1750157"/>
                      </a:lnTo>
                      <a:lnTo>
                        <a:pt x="1818627" y="1672524"/>
                      </a:lnTo>
                      <a:cubicBezTo>
                        <a:pt x="1743241" y="1767759"/>
                        <a:pt x="1649240" y="1846634"/>
                        <a:pt x="1542362" y="1904338"/>
                      </a:cubicBezTo>
                      <a:lnTo>
                        <a:pt x="1581780" y="2127856"/>
                      </a:lnTo>
                      <a:lnTo>
                        <a:pt x="1411398" y="2189870"/>
                      </a:lnTo>
                      <a:lnTo>
                        <a:pt x="1297919" y="1993308"/>
                      </a:lnTo>
                      <a:cubicBezTo>
                        <a:pt x="1178954" y="2017804"/>
                        <a:pt x="1056245" y="2017804"/>
                        <a:pt x="937280" y="1993308"/>
                      </a:cubicBezTo>
                      <a:lnTo>
                        <a:pt x="823802" y="2189870"/>
                      </a:lnTo>
                      <a:lnTo>
                        <a:pt x="653420" y="2127856"/>
                      </a:lnTo>
                      <a:lnTo>
                        <a:pt x="692839" y="1904338"/>
                      </a:lnTo>
                      <a:cubicBezTo>
                        <a:pt x="585961" y="1846634"/>
                        <a:pt x="491960" y="1767758"/>
                        <a:pt x="416574" y="1672524"/>
                      </a:cubicBezTo>
                      <a:lnTo>
                        <a:pt x="203296" y="1750157"/>
                      </a:lnTo>
                      <a:lnTo>
                        <a:pt x="112638" y="1593132"/>
                      </a:lnTo>
                      <a:lnTo>
                        <a:pt x="286508" y="1447245"/>
                      </a:lnTo>
                      <a:cubicBezTo>
                        <a:pt x="241726" y="1334341"/>
                        <a:pt x="220417" y="1213496"/>
                        <a:pt x="223884" y="1092085"/>
                      </a:cubicBezTo>
                      <a:lnTo>
                        <a:pt x="10603" y="1014463"/>
                      </a:lnTo>
                      <a:lnTo>
                        <a:pt x="42088" y="835901"/>
                      </a:lnTo>
                      <a:lnTo>
                        <a:pt x="269055" y="835907"/>
                      </a:lnTo>
                      <a:cubicBezTo>
                        <a:pt x="307323" y="720632"/>
                        <a:pt x="368677" y="614363"/>
                        <a:pt x="449374" y="523585"/>
                      </a:cubicBezTo>
                      <a:lnTo>
                        <a:pt x="335886" y="327029"/>
                      </a:lnTo>
                      <a:lnTo>
                        <a:pt x="474782" y="210481"/>
                      </a:lnTo>
                      <a:lnTo>
                        <a:pt x="648645" y="356377"/>
                      </a:lnTo>
                      <a:cubicBezTo>
                        <a:pt x="752057" y="292669"/>
                        <a:pt x="867366" y="250701"/>
                        <a:pt x="987535" y="233031"/>
                      </a:cubicBezTo>
                      <a:lnTo>
                        <a:pt x="1026942" y="9511"/>
                      </a:lnTo>
                      <a:lnTo>
                        <a:pt x="1208258" y="9511"/>
                      </a:lnTo>
                      <a:lnTo>
                        <a:pt x="1247665" y="233031"/>
                      </a:lnTo>
                      <a:cubicBezTo>
                        <a:pt x="1367834" y="250700"/>
                        <a:pt x="1483142" y="292669"/>
                        <a:pt x="1586555" y="35637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00175" tIns="574385" rIns="500175" bIns="613476" numCol="1" spcCol="1270" anchor="ctr" anchorCtr="0">
                  <a:noAutofit/>
                </a:bodyPr>
                <a:lstStyle/>
                <a:p>
                  <a:pPr lvl="0" algn="ctr" defTabSz="17780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he-IL" sz="4000" kern="1200" dirty="0"/>
                </a:p>
              </p:txBody>
            </p:sp>
            <p:sp>
              <p:nvSpPr>
                <p:cNvPr id="64" name="Freeform 63"/>
                <p:cNvSpPr/>
                <p:nvPr/>
              </p:nvSpPr>
              <p:spPr>
                <a:xfrm>
                  <a:off x="3068318" y="2555338"/>
                  <a:ext cx="1380725" cy="1591597"/>
                </a:xfrm>
                <a:custGeom>
                  <a:avLst/>
                  <a:gdLst>
                    <a:gd name="connsiteX0" fmla="*/ 1216350 w 1625600"/>
                    <a:gd name="connsiteY0" fmla="*/ 411723 h 1625600"/>
                    <a:gd name="connsiteX1" fmla="*/ 1456181 w 1625600"/>
                    <a:gd name="connsiteY1" fmla="*/ 339443 h 1625600"/>
                    <a:gd name="connsiteX2" fmla="*/ 1544430 w 1625600"/>
                    <a:gd name="connsiteY2" fmla="*/ 492294 h 1625600"/>
                    <a:gd name="connsiteX3" fmla="*/ 1361918 w 1625600"/>
                    <a:gd name="connsiteY3" fmla="*/ 663854 h 1625600"/>
                    <a:gd name="connsiteX4" fmla="*/ 1361918 w 1625600"/>
                    <a:gd name="connsiteY4" fmla="*/ 961747 h 1625600"/>
                    <a:gd name="connsiteX5" fmla="*/ 1544430 w 1625600"/>
                    <a:gd name="connsiteY5" fmla="*/ 1133306 h 1625600"/>
                    <a:gd name="connsiteX6" fmla="*/ 1456181 w 1625600"/>
                    <a:gd name="connsiteY6" fmla="*/ 1286157 h 1625600"/>
                    <a:gd name="connsiteX7" fmla="*/ 1216350 w 1625600"/>
                    <a:gd name="connsiteY7" fmla="*/ 1213877 h 1625600"/>
                    <a:gd name="connsiteX8" fmla="*/ 958367 w 1625600"/>
                    <a:gd name="connsiteY8" fmla="*/ 1362823 h 1625600"/>
                    <a:gd name="connsiteX9" fmla="*/ 901049 w 1625600"/>
                    <a:gd name="connsiteY9" fmla="*/ 1606663 h 1625600"/>
                    <a:gd name="connsiteX10" fmla="*/ 724551 w 1625600"/>
                    <a:gd name="connsiteY10" fmla="*/ 1606663 h 1625600"/>
                    <a:gd name="connsiteX11" fmla="*/ 667232 w 1625600"/>
                    <a:gd name="connsiteY11" fmla="*/ 1362823 h 1625600"/>
                    <a:gd name="connsiteX12" fmla="*/ 409249 w 1625600"/>
                    <a:gd name="connsiteY12" fmla="*/ 1213877 h 1625600"/>
                    <a:gd name="connsiteX13" fmla="*/ 169419 w 1625600"/>
                    <a:gd name="connsiteY13" fmla="*/ 1286157 h 1625600"/>
                    <a:gd name="connsiteX14" fmla="*/ 81170 w 1625600"/>
                    <a:gd name="connsiteY14" fmla="*/ 1133306 h 1625600"/>
                    <a:gd name="connsiteX15" fmla="*/ 263682 w 1625600"/>
                    <a:gd name="connsiteY15" fmla="*/ 961746 h 1625600"/>
                    <a:gd name="connsiteX16" fmla="*/ 263682 w 1625600"/>
                    <a:gd name="connsiteY16" fmla="*/ 663853 h 1625600"/>
                    <a:gd name="connsiteX17" fmla="*/ 81170 w 1625600"/>
                    <a:gd name="connsiteY17" fmla="*/ 492294 h 1625600"/>
                    <a:gd name="connsiteX18" fmla="*/ 169419 w 1625600"/>
                    <a:gd name="connsiteY18" fmla="*/ 339443 h 1625600"/>
                    <a:gd name="connsiteX19" fmla="*/ 409250 w 1625600"/>
                    <a:gd name="connsiteY19" fmla="*/ 411723 h 1625600"/>
                    <a:gd name="connsiteX20" fmla="*/ 667233 w 1625600"/>
                    <a:gd name="connsiteY20" fmla="*/ 262777 h 1625600"/>
                    <a:gd name="connsiteX21" fmla="*/ 724551 w 1625600"/>
                    <a:gd name="connsiteY21" fmla="*/ 18937 h 1625600"/>
                    <a:gd name="connsiteX22" fmla="*/ 901049 w 1625600"/>
                    <a:gd name="connsiteY22" fmla="*/ 18937 h 1625600"/>
                    <a:gd name="connsiteX23" fmla="*/ 958368 w 1625600"/>
                    <a:gd name="connsiteY23" fmla="*/ 262777 h 1625600"/>
                    <a:gd name="connsiteX24" fmla="*/ 1216351 w 1625600"/>
                    <a:gd name="connsiteY24" fmla="*/ 411723 h 1625600"/>
                    <a:gd name="connsiteX25" fmla="*/ 1216350 w 1625600"/>
                    <a:gd name="connsiteY25" fmla="*/ 411723 h 1625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625600" h="1625600">
                      <a:moveTo>
                        <a:pt x="1216350" y="411723"/>
                      </a:moveTo>
                      <a:lnTo>
                        <a:pt x="1456181" y="339443"/>
                      </a:lnTo>
                      <a:lnTo>
                        <a:pt x="1544430" y="492294"/>
                      </a:lnTo>
                      <a:lnTo>
                        <a:pt x="1361918" y="663854"/>
                      </a:lnTo>
                      <a:cubicBezTo>
                        <a:pt x="1388374" y="761389"/>
                        <a:pt x="1388374" y="864211"/>
                        <a:pt x="1361918" y="961747"/>
                      </a:cubicBezTo>
                      <a:lnTo>
                        <a:pt x="1544430" y="1133306"/>
                      </a:lnTo>
                      <a:lnTo>
                        <a:pt x="1456181" y="1286157"/>
                      </a:lnTo>
                      <a:lnTo>
                        <a:pt x="1216350" y="1213877"/>
                      </a:lnTo>
                      <a:cubicBezTo>
                        <a:pt x="1145110" y="1285556"/>
                        <a:pt x="1056063" y="1336967"/>
                        <a:pt x="958367" y="1362823"/>
                      </a:cubicBezTo>
                      <a:lnTo>
                        <a:pt x="901049" y="1606663"/>
                      </a:lnTo>
                      <a:lnTo>
                        <a:pt x="724551" y="1606663"/>
                      </a:lnTo>
                      <a:lnTo>
                        <a:pt x="667232" y="1362823"/>
                      </a:lnTo>
                      <a:cubicBezTo>
                        <a:pt x="569536" y="1336967"/>
                        <a:pt x="480489" y="1285556"/>
                        <a:pt x="409249" y="1213877"/>
                      </a:cubicBezTo>
                      <a:lnTo>
                        <a:pt x="169419" y="1286157"/>
                      </a:lnTo>
                      <a:lnTo>
                        <a:pt x="81170" y="1133306"/>
                      </a:lnTo>
                      <a:lnTo>
                        <a:pt x="263682" y="961746"/>
                      </a:lnTo>
                      <a:cubicBezTo>
                        <a:pt x="237226" y="864211"/>
                        <a:pt x="237226" y="761389"/>
                        <a:pt x="263682" y="663853"/>
                      </a:cubicBezTo>
                      <a:lnTo>
                        <a:pt x="81170" y="492294"/>
                      </a:lnTo>
                      <a:lnTo>
                        <a:pt x="169419" y="339443"/>
                      </a:lnTo>
                      <a:lnTo>
                        <a:pt x="409250" y="411723"/>
                      </a:lnTo>
                      <a:cubicBezTo>
                        <a:pt x="480490" y="340044"/>
                        <a:pt x="569537" y="288633"/>
                        <a:pt x="667233" y="262777"/>
                      </a:cubicBezTo>
                      <a:lnTo>
                        <a:pt x="724551" y="18937"/>
                      </a:lnTo>
                      <a:lnTo>
                        <a:pt x="901049" y="18937"/>
                      </a:lnTo>
                      <a:lnTo>
                        <a:pt x="958368" y="262777"/>
                      </a:lnTo>
                      <a:cubicBezTo>
                        <a:pt x="1056064" y="288633"/>
                        <a:pt x="1145111" y="340044"/>
                        <a:pt x="1216351" y="411723"/>
                      </a:cubicBezTo>
                      <a:lnTo>
                        <a:pt x="1216350" y="411723"/>
                      </a:lnTo>
                      <a:close/>
                    </a:path>
                  </a:pathLst>
                </a:custGeom>
                <a:solidFill>
                  <a:schemeClr val="bg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439730" tIns="442203" rIns="439730" bIns="442203" numCol="1" spcCol="1270" anchor="ctr" anchorCtr="0">
                  <a:noAutofit/>
                </a:bodyPr>
                <a:lstStyle/>
                <a:p>
                  <a:pPr lvl="0" algn="ctr" defTabSz="10668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he-IL" sz="2400" kern="1200" dirty="0"/>
                </a:p>
              </p:txBody>
            </p:sp>
            <p:sp>
              <p:nvSpPr>
                <p:cNvPr id="65" name="Freeform 64"/>
                <p:cNvSpPr/>
                <p:nvPr/>
              </p:nvSpPr>
              <p:spPr>
                <a:xfrm>
                  <a:off x="3928764" y="1396998"/>
                  <a:ext cx="1644435" cy="1539424"/>
                </a:xfrm>
                <a:custGeom>
                  <a:avLst/>
                  <a:gdLst>
                    <a:gd name="connsiteX0" fmla="*/ 1191775 w 1592756"/>
                    <a:gd name="connsiteY0" fmla="*/ 403405 h 1592756"/>
                    <a:gd name="connsiteX1" fmla="*/ 1426760 w 1592756"/>
                    <a:gd name="connsiteY1" fmla="*/ 332584 h 1592756"/>
                    <a:gd name="connsiteX2" fmla="*/ 1513226 w 1592756"/>
                    <a:gd name="connsiteY2" fmla="*/ 482348 h 1592756"/>
                    <a:gd name="connsiteX3" fmla="*/ 1334401 w 1592756"/>
                    <a:gd name="connsiteY3" fmla="*/ 650441 h 1592756"/>
                    <a:gd name="connsiteX4" fmla="*/ 1334401 w 1592756"/>
                    <a:gd name="connsiteY4" fmla="*/ 942315 h 1592756"/>
                    <a:gd name="connsiteX5" fmla="*/ 1513226 w 1592756"/>
                    <a:gd name="connsiteY5" fmla="*/ 1110408 h 1592756"/>
                    <a:gd name="connsiteX6" fmla="*/ 1426760 w 1592756"/>
                    <a:gd name="connsiteY6" fmla="*/ 1260172 h 1592756"/>
                    <a:gd name="connsiteX7" fmla="*/ 1191775 w 1592756"/>
                    <a:gd name="connsiteY7" fmla="*/ 1189351 h 1592756"/>
                    <a:gd name="connsiteX8" fmla="*/ 939004 w 1592756"/>
                    <a:gd name="connsiteY8" fmla="*/ 1335288 h 1592756"/>
                    <a:gd name="connsiteX9" fmla="*/ 882844 w 1592756"/>
                    <a:gd name="connsiteY9" fmla="*/ 1574202 h 1592756"/>
                    <a:gd name="connsiteX10" fmla="*/ 709912 w 1592756"/>
                    <a:gd name="connsiteY10" fmla="*/ 1574202 h 1592756"/>
                    <a:gd name="connsiteX11" fmla="*/ 653752 w 1592756"/>
                    <a:gd name="connsiteY11" fmla="*/ 1335288 h 1592756"/>
                    <a:gd name="connsiteX12" fmla="*/ 400981 w 1592756"/>
                    <a:gd name="connsiteY12" fmla="*/ 1189351 h 1592756"/>
                    <a:gd name="connsiteX13" fmla="*/ 165996 w 1592756"/>
                    <a:gd name="connsiteY13" fmla="*/ 1260172 h 1592756"/>
                    <a:gd name="connsiteX14" fmla="*/ 79530 w 1592756"/>
                    <a:gd name="connsiteY14" fmla="*/ 1110408 h 1592756"/>
                    <a:gd name="connsiteX15" fmla="*/ 258355 w 1592756"/>
                    <a:gd name="connsiteY15" fmla="*/ 942315 h 1592756"/>
                    <a:gd name="connsiteX16" fmla="*/ 258355 w 1592756"/>
                    <a:gd name="connsiteY16" fmla="*/ 650441 h 1592756"/>
                    <a:gd name="connsiteX17" fmla="*/ 79530 w 1592756"/>
                    <a:gd name="connsiteY17" fmla="*/ 482348 h 1592756"/>
                    <a:gd name="connsiteX18" fmla="*/ 165996 w 1592756"/>
                    <a:gd name="connsiteY18" fmla="*/ 332584 h 1592756"/>
                    <a:gd name="connsiteX19" fmla="*/ 400981 w 1592756"/>
                    <a:gd name="connsiteY19" fmla="*/ 403405 h 1592756"/>
                    <a:gd name="connsiteX20" fmla="*/ 653752 w 1592756"/>
                    <a:gd name="connsiteY20" fmla="*/ 257468 h 1592756"/>
                    <a:gd name="connsiteX21" fmla="*/ 709912 w 1592756"/>
                    <a:gd name="connsiteY21" fmla="*/ 18554 h 1592756"/>
                    <a:gd name="connsiteX22" fmla="*/ 882844 w 1592756"/>
                    <a:gd name="connsiteY22" fmla="*/ 18554 h 1592756"/>
                    <a:gd name="connsiteX23" fmla="*/ 939004 w 1592756"/>
                    <a:gd name="connsiteY23" fmla="*/ 257468 h 1592756"/>
                    <a:gd name="connsiteX24" fmla="*/ 1191775 w 1592756"/>
                    <a:gd name="connsiteY24" fmla="*/ 403405 h 1592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592756" h="1592756">
                      <a:moveTo>
                        <a:pt x="1025173" y="402893"/>
                      </a:moveTo>
                      <a:lnTo>
                        <a:pt x="1195533" y="297380"/>
                      </a:lnTo>
                      <a:lnTo>
                        <a:pt x="1295376" y="397223"/>
                      </a:lnTo>
                      <a:lnTo>
                        <a:pt x="1189863" y="567584"/>
                      </a:lnTo>
                      <a:cubicBezTo>
                        <a:pt x="1230502" y="637475"/>
                        <a:pt x="1251792" y="716930"/>
                        <a:pt x="1251543" y="797777"/>
                      </a:cubicBezTo>
                      <a:lnTo>
                        <a:pt x="1428100" y="892558"/>
                      </a:lnTo>
                      <a:lnTo>
                        <a:pt x="1391556" y="1028945"/>
                      </a:lnTo>
                      <a:lnTo>
                        <a:pt x="1191263" y="1022749"/>
                      </a:lnTo>
                      <a:cubicBezTo>
                        <a:pt x="1151054" y="1092889"/>
                        <a:pt x="1092889" y="1151054"/>
                        <a:pt x="1022749" y="1191262"/>
                      </a:cubicBezTo>
                      <a:lnTo>
                        <a:pt x="1028945" y="1391556"/>
                      </a:lnTo>
                      <a:lnTo>
                        <a:pt x="892558" y="1428101"/>
                      </a:lnTo>
                      <a:lnTo>
                        <a:pt x="797778" y="1251543"/>
                      </a:lnTo>
                      <a:cubicBezTo>
                        <a:pt x="716930" y="1251791"/>
                        <a:pt x="637475" y="1230502"/>
                        <a:pt x="567583" y="1189863"/>
                      </a:cubicBezTo>
                      <a:lnTo>
                        <a:pt x="397223" y="1295376"/>
                      </a:lnTo>
                      <a:lnTo>
                        <a:pt x="297380" y="1195533"/>
                      </a:lnTo>
                      <a:lnTo>
                        <a:pt x="402893" y="1025172"/>
                      </a:lnTo>
                      <a:cubicBezTo>
                        <a:pt x="362254" y="955281"/>
                        <a:pt x="340964" y="875826"/>
                        <a:pt x="341213" y="794979"/>
                      </a:cubicBezTo>
                      <a:lnTo>
                        <a:pt x="164656" y="700198"/>
                      </a:lnTo>
                      <a:lnTo>
                        <a:pt x="201200" y="563811"/>
                      </a:lnTo>
                      <a:lnTo>
                        <a:pt x="401493" y="570007"/>
                      </a:lnTo>
                      <a:cubicBezTo>
                        <a:pt x="441702" y="499867"/>
                        <a:pt x="499867" y="441702"/>
                        <a:pt x="570007" y="401494"/>
                      </a:cubicBezTo>
                      <a:lnTo>
                        <a:pt x="563811" y="201200"/>
                      </a:lnTo>
                      <a:lnTo>
                        <a:pt x="700198" y="164655"/>
                      </a:lnTo>
                      <a:lnTo>
                        <a:pt x="794978" y="341213"/>
                      </a:lnTo>
                      <a:cubicBezTo>
                        <a:pt x="875826" y="340965"/>
                        <a:pt x="955281" y="362254"/>
                        <a:pt x="1025173" y="40289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62611" tIns="562611" rIns="562609" bIns="562609" numCol="1" spcCol="1270" anchor="ctr" anchorCtr="0">
                  <a:noAutofit/>
                </a:bodyPr>
                <a:lstStyle/>
                <a:p>
                  <a:pPr lvl="0" algn="ctr" defTabSz="120015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he-IL" sz="2700" kern="1200" dirty="0"/>
                </a:p>
              </p:txBody>
            </p:sp>
            <p:sp>
              <p:nvSpPr>
                <p:cNvPr id="66" name="Circular Arrow 65"/>
                <p:cNvSpPr/>
                <p:nvPr/>
              </p:nvSpPr>
              <p:spPr>
                <a:xfrm>
                  <a:off x="4195505" y="2889320"/>
                  <a:ext cx="2861056" cy="2861056"/>
                </a:xfrm>
                <a:prstGeom prst="circularArrow">
                  <a:avLst>
                    <a:gd name="adj1" fmla="val 4687"/>
                    <a:gd name="adj2" fmla="val 299029"/>
                    <a:gd name="adj3" fmla="val 2513083"/>
                    <a:gd name="adj4" fmla="val 15867933"/>
                    <a:gd name="adj5" fmla="val 5469"/>
                  </a:avLst>
                </a:prstGeom>
                <a:grpFill/>
              </p:spPr>
              <p:style>
                <a:ln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7" name="Shape 66"/>
                <p:cNvSpPr/>
                <p:nvPr/>
              </p:nvSpPr>
              <p:spPr>
                <a:xfrm>
                  <a:off x="2780429" y="2338355"/>
                  <a:ext cx="2078736" cy="2078736"/>
                </a:xfrm>
                <a:prstGeom prst="leftCircularArrow">
                  <a:avLst>
                    <a:gd name="adj1" fmla="val 6452"/>
                    <a:gd name="adj2" fmla="val 429999"/>
                    <a:gd name="adj3" fmla="val 10489124"/>
                    <a:gd name="adj4" fmla="val 14837806"/>
                    <a:gd name="adj5" fmla="val 7527"/>
                  </a:avLst>
                </a:prstGeom>
                <a:grpFill/>
              </p:spPr>
              <p:style>
                <a:ln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8" name="Circular Arrow 67"/>
                <p:cNvSpPr/>
                <p:nvPr/>
              </p:nvSpPr>
              <p:spPr>
                <a:xfrm>
                  <a:off x="3610400" y="1227668"/>
                  <a:ext cx="2241296" cy="2241296"/>
                </a:xfrm>
                <a:prstGeom prst="circularArrow">
                  <a:avLst>
                    <a:gd name="adj1" fmla="val 5984"/>
                    <a:gd name="adj2" fmla="val 394124"/>
                    <a:gd name="adj3" fmla="val 13313824"/>
                    <a:gd name="adj4" fmla="val 10508221"/>
                    <a:gd name="adj5" fmla="val 6981"/>
                  </a:avLst>
                </a:prstGeom>
                <a:grpFill/>
              </p:spPr>
              <p:style>
                <a:ln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</p:grpSp>
          <p:sp>
            <p:nvSpPr>
              <p:cNvPr id="62" name="Rectangle 61"/>
              <p:cNvSpPr/>
              <p:nvPr/>
            </p:nvSpPr>
            <p:spPr>
              <a:xfrm>
                <a:off x="2306188" y="3219785"/>
                <a:ext cx="4137292" cy="594405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ctr" defTabSz="914023"/>
                <a:r>
                  <a:rPr lang="en-US" dirty="0" smtClean="0">
                    <a:solidFill>
                      <a:schemeClr val="lt1">
                        <a:alpha val="99000"/>
                      </a:schemeClr>
                    </a:solidFill>
                  </a:rPr>
                  <a:t>Integration Tools</a:t>
                </a:r>
                <a:endParaRPr lang="he-IL" dirty="0">
                  <a:solidFill>
                    <a:schemeClr val="lt1">
                      <a:alpha val="99000"/>
                    </a:schemeClr>
                  </a:solidFill>
                </a:endParaRPr>
              </a:p>
            </p:txBody>
          </p:sp>
        </p:grp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604203" y="2066540"/>
            <a:ext cx="761152" cy="748718"/>
          </a:xfrm>
          <a:prstGeom prst="rect">
            <a:avLst/>
          </a:prstGeom>
        </p:spPr>
      </p:pic>
      <p:sp>
        <p:nvSpPr>
          <p:cNvPr id="84" name="Rectangle 83"/>
          <p:cNvSpPr/>
          <p:nvPr/>
        </p:nvSpPr>
        <p:spPr>
          <a:xfrm>
            <a:off x="5532631" y="1821337"/>
            <a:ext cx="9169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chemeClr val="bg1">
                    <a:alpha val="99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In Memory</a:t>
            </a:r>
            <a:endParaRPr lang="he-IL" sz="1200" dirty="0">
              <a:latin typeface="Gisha" panose="020B0502040204020203" pitchFamily="34" charset="-79"/>
              <a:cs typeface="Gisha" panose="020B0502040204020203" pitchFamily="34" charset="-79"/>
            </a:endParaRPr>
          </a:p>
        </p:txBody>
      </p:sp>
      <p:sp>
        <p:nvSpPr>
          <p:cNvPr id="85" name="Title 1"/>
          <p:cNvSpPr txBox="1">
            <a:spLocks/>
          </p:cNvSpPr>
          <p:nvPr/>
        </p:nvSpPr>
        <p:spPr>
          <a:xfrm>
            <a:off x="457200" y="350838"/>
            <a:ext cx="8123238" cy="5635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In the Datawarehouse ecosys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29822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/>
          <p:cNvGrpSpPr/>
          <p:nvPr/>
        </p:nvGrpSpPr>
        <p:grpSpPr>
          <a:xfrm>
            <a:off x="3605430" y="1028818"/>
            <a:ext cx="1624184" cy="5315600"/>
            <a:chOff x="3533422" y="957565"/>
            <a:chExt cx="1624184" cy="5315600"/>
          </a:xfrm>
        </p:grpSpPr>
        <p:grpSp>
          <p:nvGrpSpPr>
            <p:cNvPr id="46" name="Group 45"/>
            <p:cNvGrpSpPr/>
            <p:nvPr/>
          </p:nvGrpSpPr>
          <p:grpSpPr>
            <a:xfrm>
              <a:off x="3533422" y="957565"/>
              <a:ext cx="1553176" cy="5315600"/>
              <a:chOff x="3681340" y="980728"/>
              <a:chExt cx="1553176" cy="5315600"/>
            </a:xfrm>
          </p:grpSpPr>
          <p:sp>
            <p:nvSpPr>
              <p:cNvPr id="52" name="Rectangle 51"/>
              <p:cNvSpPr/>
              <p:nvPr>
                <p:custDataLst>
                  <p:tags r:id="rId13"/>
                </p:custDataLst>
              </p:nvPr>
            </p:nvSpPr>
            <p:spPr bwMode="auto">
              <a:xfrm>
                <a:off x="3681340" y="1476435"/>
                <a:ext cx="1553176" cy="4819893"/>
              </a:xfrm>
              <a:prstGeom prst="rect">
                <a:avLst/>
              </a:prstGeom>
              <a:solidFill>
                <a:srgbClr val="46464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91440" tIns="45718" rIns="91440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23"/>
                <a:endParaRPr lang="en-US" sz="2000" dirty="0">
                  <a:solidFill>
                    <a:schemeClr val="bg1">
                      <a:alpha val="99000"/>
                    </a:schemeClr>
                  </a:solidFill>
                </a:endParaRPr>
              </a:p>
            </p:txBody>
          </p:sp>
          <p:sp>
            <p:nvSpPr>
              <p:cNvPr id="53" name="Rectangle 52"/>
              <p:cNvSpPr/>
              <p:nvPr>
                <p:custDataLst>
                  <p:tags r:id="rId14"/>
                </p:custDataLst>
              </p:nvPr>
            </p:nvSpPr>
            <p:spPr bwMode="auto">
              <a:xfrm>
                <a:off x="3683312" y="980728"/>
                <a:ext cx="1551204" cy="502722"/>
              </a:xfrm>
              <a:prstGeom prst="rect">
                <a:avLst/>
              </a:prstGeom>
              <a:solidFill>
                <a:srgbClr val="ED193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91440" tIns="45718" rIns="91440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23"/>
                <a:r>
                  <a:rPr lang="en-US" sz="1600" dirty="0" smtClean="0">
                    <a:solidFill>
                      <a:schemeClr val="bg1">
                        <a:alpha val="99000"/>
                      </a:schemeClr>
                    </a:solidFill>
                  </a:rPr>
                  <a:t>DWH</a:t>
                </a:r>
              </a:p>
            </p:txBody>
          </p:sp>
          <p:pic>
            <p:nvPicPr>
              <p:cNvPr id="54" name="Picture 9"/>
              <p:cNvPicPr>
                <a:picLocks noChangeAspect="1" noChangeArrowheads="1"/>
              </p:cNvPicPr>
              <p:nvPr>
                <p:custDataLst>
                  <p:tags r:id="rId15"/>
                </p:custDataLst>
              </p:nvPr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3814" y="3070583"/>
                <a:ext cx="729378" cy="144781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5" name="Picture 9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47910" y="2420888"/>
                <a:ext cx="393368" cy="7808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6" name="Picture 9"/>
              <p:cNvPicPr>
                <a:picLocks noChangeAspect="1" noChangeArrowheads="1"/>
              </p:cNvPicPr>
              <p:nvPr>
                <p:custDataLst>
                  <p:tags r:id="rId17"/>
                </p:custDataLst>
              </p:nvPr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27683" y="3347129"/>
                <a:ext cx="429644" cy="8528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7" name="Picture 9"/>
              <p:cNvPicPr>
                <a:picLocks noChangeAspect="1" noChangeArrowheads="1"/>
              </p:cNvPicPr>
              <p:nvPr>
                <p:custDataLst>
                  <p:tags r:id="rId18"/>
                </p:custDataLst>
              </p:nvPr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25554" y="4345378"/>
                <a:ext cx="429644" cy="8528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47" name="Rectangle 46"/>
            <p:cNvSpPr/>
            <p:nvPr/>
          </p:nvSpPr>
          <p:spPr>
            <a:xfrm>
              <a:off x="3607146" y="2744005"/>
              <a:ext cx="7360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DWH</a:t>
              </a:r>
              <a:endParaRPr lang="he-IL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4221132" y="2175378"/>
              <a:ext cx="93647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Data Marts</a:t>
              </a:r>
              <a:endParaRPr lang="he-IL" sz="1200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6835248" y="1035844"/>
            <a:ext cx="1553176" cy="5308574"/>
            <a:chOff x="6835248" y="964591"/>
            <a:chExt cx="1553176" cy="5308574"/>
          </a:xfrm>
        </p:grpSpPr>
        <p:grpSp>
          <p:nvGrpSpPr>
            <p:cNvPr id="70" name="Group 69"/>
            <p:cNvGrpSpPr/>
            <p:nvPr/>
          </p:nvGrpSpPr>
          <p:grpSpPr>
            <a:xfrm>
              <a:off x="6835248" y="964591"/>
              <a:ext cx="1553176" cy="5308574"/>
              <a:chOff x="6763240" y="964591"/>
              <a:chExt cx="1553176" cy="5308574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6763240" y="964591"/>
                <a:ext cx="1553176" cy="5308574"/>
                <a:chOff x="6837220" y="980728"/>
                <a:chExt cx="1553176" cy="5308574"/>
              </a:xfrm>
            </p:grpSpPr>
            <p:sp>
              <p:nvSpPr>
                <p:cNvPr id="78" name="Rectangle 77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6837220" y="1469409"/>
                  <a:ext cx="1553176" cy="4819893"/>
                </a:xfrm>
                <a:prstGeom prst="rect">
                  <a:avLst/>
                </a:prstGeom>
                <a:solidFill>
                  <a:srgbClr val="46464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40" tIns="45718" rIns="91440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23"/>
                  <a:endParaRPr lang="en-US" sz="2000" dirty="0">
                    <a:solidFill>
                      <a:schemeClr val="bg1">
                        <a:alpha val="99000"/>
                      </a:schemeClr>
                    </a:solidFill>
                  </a:endParaRPr>
                </a:p>
              </p:txBody>
            </p:sp>
            <p:sp>
              <p:nvSpPr>
                <p:cNvPr id="79" name="Rectangle 78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6837220" y="980728"/>
                  <a:ext cx="1551204" cy="496956"/>
                </a:xfrm>
                <a:prstGeom prst="rect">
                  <a:avLst/>
                </a:prstGeom>
                <a:solidFill>
                  <a:srgbClr val="ED193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40" tIns="45718" rIns="91440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23"/>
                  <a:r>
                    <a:rPr lang="en-US" sz="1600" dirty="0" smtClean="0">
                      <a:solidFill>
                        <a:schemeClr val="bg1">
                          <a:alpha val="99000"/>
                        </a:schemeClr>
                      </a:solidFill>
                    </a:rPr>
                    <a:t>Presentation</a:t>
                  </a:r>
                  <a:endParaRPr lang="en-US" sz="1600" dirty="0">
                    <a:solidFill>
                      <a:schemeClr val="bg1">
                        <a:alpha val="99000"/>
                      </a:schemeClr>
                    </a:solidFill>
                  </a:endParaRPr>
                </a:p>
              </p:txBody>
            </p:sp>
            <p:pic>
              <p:nvPicPr>
                <p:cNvPr id="80" name="Picture 79"/>
                <p:cNvPicPr>
                  <a:picLocks noChangeAspect="1"/>
                </p:cNvPicPr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7372955" y="1765574"/>
                  <a:ext cx="507419" cy="622335"/>
                </a:xfrm>
                <a:prstGeom prst="rect">
                  <a:avLst/>
                </a:prstGeom>
              </p:spPr>
            </p:pic>
            <p:pic>
              <p:nvPicPr>
                <p:cNvPr id="81" name="Picture 80"/>
                <p:cNvPicPr>
                  <a:picLocks noChangeAspect="1"/>
                </p:cNvPicPr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7347346" y="2838831"/>
                  <a:ext cx="493564" cy="470185"/>
                </a:xfrm>
                <a:prstGeom prst="rect">
                  <a:avLst/>
                </a:prstGeom>
              </p:spPr>
            </p:pic>
            <p:pic>
              <p:nvPicPr>
                <p:cNvPr id="82" name="Picture 81"/>
                <p:cNvPicPr>
                  <a:picLocks noChangeAspect="1"/>
                </p:cNvPicPr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7081084" y="3744997"/>
                  <a:ext cx="1135651" cy="1040591"/>
                </a:xfrm>
                <a:prstGeom prst="rect">
                  <a:avLst/>
                </a:prstGeom>
              </p:spPr>
            </p:pic>
            <p:sp>
              <p:nvSpPr>
                <p:cNvPr id="83" name="Rectangle 82"/>
                <p:cNvSpPr/>
                <p:nvPr/>
              </p:nvSpPr>
              <p:spPr bwMode="auto">
                <a:xfrm>
                  <a:off x="6970508" y="3712265"/>
                  <a:ext cx="1296144" cy="1126767"/>
                </a:xfrm>
                <a:prstGeom prst="rect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he-IL" sz="1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75" name="Rectangle 74"/>
              <p:cNvSpPr/>
              <p:nvPr/>
            </p:nvSpPr>
            <p:spPr>
              <a:xfrm>
                <a:off x="7185154" y="1484784"/>
                <a:ext cx="70737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Reports</a:t>
                </a:r>
                <a:endParaRPr lang="he-IL" sz="1200" dirty="0">
                  <a:latin typeface="Gisha" panose="020B0502040204020203" pitchFamily="34" charset="-79"/>
                  <a:cs typeface="Gisha" panose="020B0502040204020203" pitchFamily="34" charset="-79"/>
                </a:endParaRPr>
              </a:p>
            </p:txBody>
          </p:sp>
          <p:sp>
            <p:nvSpPr>
              <p:cNvPr id="76" name="Rectangle 75"/>
              <p:cNvSpPr/>
              <p:nvPr/>
            </p:nvSpPr>
            <p:spPr>
              <a:xfrm>
                <a:off x="6993749" y="3429000"/>
                <a:ext cx="98687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Dashboards</a:t>
                </a:r>
                <a:endParaRPr lang="he-IL" sz="1200" dirty="0">
                  <a:latin typeface="Gisha" panose="020B0502040204020203" pitchFamily="34" charset="-79"/>
                  <a:cs typeface="Gisha" panose="020B0502040204020203" pitchFamily="34" charset="-79"/>
                </a:endParaRP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7020272" y="2564904"/>
                <a:ext cx="964881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Forecasting</a:t>
                </a:r>
                <a:endParaRPr lang="he-IL" sz="1200" dirty="0">
                  <a:latin typeface="Gisha" panose="020B0502040204020203" pitchFamily="34" charset="-79"/>
                  <a:cs typeface="Gisha" panose="020B0502040204020203" pitchFamily="34" charset="-79"/>
                </a:endParaRPr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7259255" y="5175055"/>
              <a:ext cx="808134" cy="808134"/>
              <a:chOff x="7259255" y="5175055"/>
              <a:chExt cx="808134" cy="808134"/>
            </a:xfrm>
          </p:grpSpPr>
          <p:pic>
            <p:nvPicPr>
              <p:cNvPr id="72" name="Picture 71"/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7259255" y="5175055"/>
                <a:ext cx="808134" cy="808134"/>
              </a:xfrm>
              <a:prstGeom prst="rect">
                <a:avLst/>
              </a:prstGeom>
            </p:spPr>
          </p:pic>
          <p:sp>
            <p:nvSpPr>
              <p:cNvPr id="73" name="Rectangle 72"/>
              <p:cNvSpPr/>
              <p:nvPr/>
            </p:nvSpPr>
            <p:spPr>
              <a:xfrm>
                <a:off x="7417879" y="5410453"/>
                <a:ext cx="487634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600" dirty="0" smtClean="0">
                    <a:solidFill>
                      <a:schemeClr val="bg1">
                        <a:alpha val="99000"/>
                      </a:schemeClr>
                    </a:solidFill>
                    <a:latin typeface="Gisha" panose="020B0502040204020203" pitchFamily="34" charset="-79"/>
                    <a:cs typeface="Gisha" panose="020B0502040204020203" pitchFamily="34" charset="-79"/>
                  </a:rPr>
                  <a:t>API</a:t>
                </a:r>
                <a:endParaRPr lang="he-IL" sz="160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>
            <a:off x="2095248" y="1028818"/>
            <a:ext cx="1439174" cy="5308575"/>
            <a:chOff x="2233006" y="980728"/>
            <a:chExt cx="1439174" cy="5308575"/>
          </a:xfrm>
        </p:grpSpPr>
        <p:sp>
          <p:nvSpPr>
            <p:cNvPr id="20" name="Rectangle 19"/>
            <p:cNvSpPr/>
            <p:nvPr>
              <p:custDataLst>
                <p:tags r:id="rId9"/>
              </p:custDataLst>
            </p:nvPr>
          </p:nvSpPr>
          <p:spPr bwMode="auto">
            <a:xfrm>
              <a:off x="2233006" y="1469410"/>
              <a:ext cx="1437631" cy="48198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20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21" name="Rectangle 20"/>
            <p:cNvSpPr/>
            <p:nvPr>
              <p:custDataLst>
                <p:tags r:id="rId10"/>
              </p:custDataLst>
            </p:nvPr>
          </p:nvSpPr>
          <p:spPr bwMode="auto">
            <a:xfrm>
              <a:off x="2233992" y="980728"/>
              <a:ext cx="1438188" cy="502722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Staging</a:t>
              </a:r>
            </a:p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Integration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5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colorTemperature colorTemp="112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329018" y="3025974"/>
              <a:ext cx="1306878" cy="1568350"/>
            </a:xfrm>
            <a:prstGeom prst="rect">
              <a:avLst/>
            </a:prstGeom>
          </p:spPr>
        </p:pic>
      </p:grpSp>
      <p:grpSp>
        <p:nvGrpSpPr>
          <p:cNvPr id="23" name="Group 22"/>
          <p:cNvGrpSpPr/>
          <p:nvPr/>
        </p:nvGrpSpPr>
        <p:grpSpPr>
          <a:xfrm>
            <a:off x="910134" y="1019420"/>
            <a:ext cx="1107244" cy="5310237"/>
            <a:chOff x="1115616" y="980728"/>
            <a:chExt cx="1107244" cy="5310237"/>
          </a:xfrm>
        </p:grpSpPr>
        <p:sp>
          <p:nvSpPr>
            <p:cNvPr id="24" name="Rectangle 23"/>
            <p:cNvSpPr/>
            <p:nvPr>
              <p:custDataLst>
                <p:tags r:id="rId3"/>
              </p:custDataLst>
            </p:nvPr>
          </p:nvSpPr>
          <p:spPr bwMode="auto">
            <a:xfrm>
              <a:off x="1115884" y="1471072"/>
              <a:ext cx="1106975" cy="4819893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20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4"/>
              </p:custDataLst>
            </p:nvPr>
          </p:nvSpPr>
          <p:spPr>
            <a:xfrm>
              <a:off x="1313890" y="1520699"/>
              <a:ext cx="774827" cy="2769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Servers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26" name="Picture 9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6971" y="1767271"/>
              <a:ext cx="304961" cy="60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" name="Picture 6" descr="\\MAGNUM\Projects\Microsoft\Cloud Power FY12\Design\ICONS_PNG\Cloud.png"/>
            <p:cNvPicPr>
              <a:picLocks noChangeAspect="1" noChangeArrowheads="1"/>
            </p:cNvPicPr>
            <p:nvPr/>
          </p:nvPicPr>
          <p:blipFill rotWithShape="1">
            <a:blip r:embed="rId28" cstate="print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8577" b="17361"/>
            <a:stretch/>
          </p:blipFill>
          <p:spPr bwMode="auto">
            <a:xfrm>
              <a:off x="1194368" y="3710442"/>
              <a:ext cx="1003996" cy="605351"/>
            </a:xfrm>
            <a:prstGeom prst="rect">
              <a:avLst/>
            </a:prstGeom>
            <a:noFill/>
          </p:spPr>
        </p:pic>
        <p:sp>
          <p:nvSpPr>
            <p:cNvPr id="28" name="TextBox 27"/>
            <p:cNvSpPr txBox="1"/>
            <p:nvPr>
              <p:custDataLst>
                <p:tags r:id="rId6"/>
              </p:custDataLst>
            </p:nvPr>
          </p:nvSpPr>
          <p:spPr>
            <a:xfrm>
              <a:off x="1152886" y="3288993"/>
              <a:ext cx="1069973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Cloud \ Web </a:t>
              </a:r>
            </a:p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Services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1472584" y="2755214"/>
              <a:ext cx="420462" cy="403644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>
              <p:custDataLst>
                <p:tags r:id="rId7"/>
              </p:custDataLst>
            </p:nvPr>
          </p:nvSpPr>
          <p:spPr>
            <a:xfrm>
              <a:off x="1269655" y="2331192"/>
              <a:ext cx="902875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Flat files &amp;</a:t>
              </a:r>
            </a:p>
            <a:p>
              <a:pPr algn="ctr"/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</a:rPr>
                <a:t>Excel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336863" y="4362110"/>
              <a:ext cx="611065" cy="842607"/>
              <a:chOff x="2152157" y="3113822"/>
              <a:chExt cx="611065" cy="842607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30"/>
              <a:stretch>
                <a:fillRect/>
              </a:stretch>
            </p:blipFill>
            <p:spPr>
              <a:xfrm>
                <a:off x="2257637" y="3461165"/>
                <a:ext cx="392996" cy="394180"/>
              </a:xfrm>
              <a:prstGeom prst="rect">
                <a:avLst/>
              </a:prstGeom>
            </p:spPr>
          </p:pic>
          <p:sp>
            <p:nvSpPr>
              <p:cNvPr id="34" name="Rectangle 33"/>
              <p:cNvSpPr/>
              <p:nvPr/>
            </p:nvSpPr>
            <p:spPr bwMode="auto">
              <a:xfrm>
                <a:off x="2157397" y="3370516"/>
                <a:ext cx="555599" cy="585913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TextBox 34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2152157" y="3113822"/>
                <a:ext cx="611065" cy="276999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>
                        <a:alpha val="99000"/>
                      </a:schemeClr>
                    </a:solidFill>
                  </a:rPr>
                  <a:t>F</a:t>
                </a:r>
                <a:r>
                  <a:rPr lang="en-US" sz="1200" dirty="0" smtClean="0">
                    <a:solidFill>
                      <a:schemeClr val="bg1">
                        <a:alpha val="99000"/>
                      </a:schemeClr>
                    </a:solidFill>
                  </a:rPr>
                  <a:t>eeds</a:t>
                </a:r>
              </a:p>
            </p:txBody>
          </p:sp>
        </p:grpSp>
        <p:sp>
          <p:nvSpPr>
            <p:cNvPr id="32" name="Rectangle 31"/>
            <p:cNvSpPr/>
            <p:nvPr/>
          </p:nvSpPr>
          <p:spPr bwMode="auto">
            <a:xfrm>
              <a:off x="1115616" y="980728"/>
              <a:ext cx="1107244" cy="502920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Data</a:t>
              </a:r>
            </a:p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Sources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230614" y="1034182"/>
            <a:ext cx="1553176" cy="5310237"/>
            <a:chOff x="5158606" y="962929"/>
            <a:chExt cx="1553176" cy="5310237"/>
          </a:xfrm>
        </p:grpSpPr>
        <p:sp>
          <p:nvSpPr>
            <p:cNvPr id="37" name="Rectangle 36"/>
            <p:cNvSpPr/>
            <p:nvPr>
              <p:custDataLst>
                <p:tags r:id="rId1"/>
              </p:custDataLst>
            </p:nvPr>
          </p:nvSpPr>
          <p:spPr bwMode="auto">
            <a:xfrm>
              <a:off x="5158606" y="964592"/>
              <a:ext cx="1553176" cy="5308574"/>
            </a:xfrm>
            <a:prstGeom prst="rect">
              <a:avLst/>
            </a:prstGeom>
            <a:solidFill>
              <a:srgbClr val="464646"/>
            </a:solidFill>
            <a:ln>
              <a:noFill/>
              <a:headEnd type="none" w="med" len="med"/>
              <a:tailEnd type="none" w="med" len="med"/>
            </a:ln>
            <a:effectLst>
              <a:glow rad="2286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endParaRPr lang="en-US" sz="14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38" name="Rectangle 37"/>
            <p:cNvSpPr/>
            <p:nvPr>
              <p:custDataLst>
                <p:tags r:id="rId2"/>
              </p:custDataLst>
            </p:nvPr>
          </p:nvSpPr>
          <p:spPr bwMode="auto">
            <a:xfrm>
              <a:off x="5160578" y="962929"/>
              <a:ext cx="1551204" cy="496956"/>
            </a:xfrm>
            <a:prstGeom prst="rect">
              <a:avLst/>
            </a:prstGeom>
            <a:solidFill>
              <a:srgbClr val="ED193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18" rIns="91440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23"/>
              <a:r>
                <a:rPr lang="en-US" sz="1600" dirty="0" smtClean="0">
                  <a:solidFill>
                    <a:schemeClr val="bg1">
                      <a:alpha val="99000"/>
                    </a:schemeClr>
                  </a:solidFill>
                </a:rPr>
                <a:t>Analysis</a:t>
              </a:r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5529194" y="3105202"/>
              <a:ext cx="805545" cy="844292"/>
            </a:xfrm>
            <a:prstGeom prst="rect">
              <a:avLst/>
            </a:prstGeom>
          </p:spPr>
        </p:pic>
        <p:grpSp>
          <p:nvGrpSpPr>
            <p:cNvPr id="40" name="Group 39"/>
            <p:cNvGrpSpPr/>
            <p:nvPr/>
          </p:nvGrpSpPr>
          <p:grpSpPr>
            <a:xfrm>
              <a:off x="5501261" y="4389711"/>
              <a:ext cx="781117" cy="785593"/>
              <a:chOff x="5436096" y="3895725"/>
              <a:chExt cx="781117" cy="785593"/>
            </a:xfrm>
          </p:grpSpPr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32"/>
              <a:stretch>
                <a:fillRect/>
              </a:stretch>
            </p:blipFill>
            <p:spPr>
              <a:xfrm>
                <a:off x="5484283" y="3938991"/>
                <a:ext cx="732930" cy="742327"/>
              </a:xfrm>
              <a:prstGeom prst="rect">
                <a:avLst/>
              </a:prstGeom>
            </p:spPr>
          </p:pic>
          <p:sp>
            <p:nvSpPr>
              <p:cNvPr id="44" name="Rectangle 43"/>
              <p:cNvSpPr/>
              <p:nvPr/>
            </p:nvSpPr>
            <p:spPr bwMode="auto">
              <a:xfrm>
                <a:off x="5436096" y="3895725"/>
                <a:ext cx="781117" cy="785593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</p:spPr>
            <p:txBody>
              <a:bodyPr vert="horz" wrap="none" lIns="91440" tIns="45720" rIns="91440" bIns="45720" numCol="1" rtlCol="1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1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he-IL" sz="1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1" name="Rectangle 40"/>
            <p:cNvSpPr/>
            <p:nvPr/>
          </p:nvSpPr>
          <p:spPr>
            <a:xfrm>
              <a:off x="5631476" y="2855926"/>
              <a:ext cx="5625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OLAP</a:t>
              </a:r>
              <a:endParaRPr lang="he-IL" sz="1200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5385911" y="4128573"/>
              <a:ext cx="101181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 smtClean="0">
                  <a:solidFill>
                    <a:schemeClr val="bg1">
                      <a:alpha val="99000"/>
                    </a:schemeClr>
                  </a:solidFill>
                  <a:latin typeface="Gisha" panose="020B0502040204020203" pitchFamily="34" charset="-79"/>
                  <a:cs typeface="Gisha" panose="020B0502040204020203" pitchFamily="34" charset="-79"/>
                </a:rPr>
                <a:t>Data Mining</a:t>
              </a:r>
              <a:endParaRPr lang="he-IL" sz="1200" dirty="0">
                <a:latin typeface="Gisha" panose="020B0502040204020203" pitchFamily="34" charset="-79"/>
                <a:cs typeface="Gisha" panose="020B0502040204020203" pitchFamily="34" charset="-79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926420" y="5454627"/>
            <a:ext cx="5853598" cy="932341"/>
            <a:chOff x="838126" y="2771579"/>
            <a:chExt cx="5923141" cy="1500515"/>
          </a:xfrm>
          <a:solidFill>
            <a:srgbClr val="ED1933"/>
          </a:solidFill>
        </p:grpSpPr>
        <p:sp>
          <p:nvSpPr>
            <p:cNvPr id="59" name="Right Arrow 58"/>
            <p:cNvSpPr/>
            <p:nvPr/>
          </p:nvSpPr>
          <p:spPr>
            <a:xfrm rot="10800000" flipH="1">
              <a:off x="838126" y="2771579"/>
              <a:ext cx="5923141" cy="1500515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1693937" y="3140968"/>
              <a:ext cx="4749543" cy="767607"/>
              <a:chOff x="1693937" y="3140968"/>
              <a:chExt cx="4749543" cy="767607"/>
            </a:xfrm>
            <a:grpFill/>
          </p:grpSpPr>
          <p:grpSp>
            <p:nvGrpSpPr>
              <p:cNvPr id="61" name="Group 60"/>
              <p:cNvGrpSpPr/>
              <p:nvPr/>
            </p:nvGrpSpPr>
            <p:grpSpPr>
              <a:xfrm>
                <a:off x="1693937" y="3140968"/>
                <a:ext cx="754619" cy="767607"/>
                <a:chOff x="2780429" y="1227668"/>
                <a:chExt cx="4276132" cy="4522708"/>
              </a:xfrm>
              <a:grpFill/>
            </p:grpSpPr>
            <p:sp>
              <p:nvSpPr>
                <p:cNvPr id="63" name="Freeform 62"/>
                <p:cNvSpPr/>
                <p:nvPr/>
              </p:nvSpPr>
              <p:spPr>
                <a:xfrm>
                  <a:off x="4368797" y="3225801"/>
                  <a:ext cx="1767548" cy="2235196"/>
                </a:xfrm>
                <a:custGeom>
                  <a:avLst/>
                  <a:gdLst>
                    <a:gd name="connsiteX0" fmla="*/ 1586555 w 2235200"/>
                    <a:gd name="connsiteY0" fmla="*/ 356377 h 2235200"/>
                    <a:gd name="connsiteX1" fmla="*/ 1760418 w 2235200"/>
                    <a:gd name="connsiteY1" fmla="*/ 210481 h 2235200"/>
                    <a:gd name="connsiteX2" fmla="*/ 1899314 w 2235200"/>
                    <a:gd name="connsiteY2" fmla="*/ 327029 h 2235200"/>
                    <a:gd name="connsiteX3" fmla="*/ 1785825 w 2235200"/>
                    <a:gd name="connsiteY3" fmla="*/ 523585 h 2235200"/>
                    <a:gd name="connsiteX4" fmla="*/ 1966144 w 2235200"/>
                    <a:gd name="connsiteY4" fmla="*/ 835907 h 2235200"/>
                    <a:gd name="connsiteX5" fmla="*/ 2193112 w 2235200"/>
                    <a:gd name="connsiteY5" fmla="*/ 835901 h 2235200"/>
                    <a:gd name="connsiteX6" fmla="*/ 2224597 w 2235200"/>
                    <a:gd name="connsiteY6" fmla="*/ 1014463 h 2235200"/>
                    <a:gd name="connsiteX7" fmla="*/ 2011316 w 2235200"/>
                    <a:gd name="connsiteY7" fmla="*/ 1092085 h 2235200"/>
                    <a:gd name="connsiteX8" fmla="*/ 1948692 w 2235200"/>
                    <a:gd name="connsiteY8" fmla="*/ 1447245 h 2235200"/>
                    <a:gd name="connsiteX9" fmla="*/ 2122562 w 2235200"/>
                    <a:gd name="connsiteY9" fmla="*/ 1593132 h 2235200"/>
                    <a:gd name="connsiteX10" fmla="*/ 2031904 w 2235200"/>
                    <a:gd name="connsiteY10" fmla="*/ 1750157 h 2235200"/>
                    <a:gd name="connsiteX11" fmla="*/ 1818627 w 2235200"/>
                    <a:gd name="connsiteY11" fmla="*/ 1672524 h 2235200"/>
                    <a:gd name="connsiteX12" fmla="*/ 1542362 w 2235200"/>
                    <a:gd name="connsiteY12" fmla="*/ 1904338 h 2235200"/>
                    <a:gd name="connsiteX13" fmla="*/ 1581780 w 2235200"/>
                    <a:gd name="connsiteY13" fmla="*/ 2127856 h 2235200"/>
                    <a:gd name="connsiteX14" fmla="*/ 1411398 w 2235200"/>
                    <a:gd name="connsiteY14" fmla="*/ 2189870 h 2235200"/>
                    <a:gd name="connsiteX15" fmla="*/ 1297919 w 2235200"/>
                    <a:gd name="connsiteY15" fmla="*/ 1993308 h 2235200"/>
                    <a:gd name="connsiteX16" fmla="*/ 937280 w 2235200"/>
                    <a:gd name="connsiteY16" fmla="*/ 1993308 h 2235200"/>
                    <a:gd name="connsiteX17" fmla="*/ 823802 w 2235200"/>
                    <a:gd name="connsiteY17" fmla="*/ 2189870 h 2235200"/>
                    <a:gd name="connsiteX18" fmla="*/ 653420 w 2235200"/>
                    <a:gd name="connsiteY18" fmla="*/ 2127856 h 2235200"/>
                    <a:gd name="connsiteX19" fmla="*/ 692839 w 2235200"/>
                    <a:gd name="connsiteY19" fmla="*/ 1904338 h 2235200"/>
                    <a:gd name="connsiteX20" fmla="*/ 416574 w 2235200"/>
                    <a:gd name="connsiteY20" fmla="*/ 1672524 h 2235200"/>
                    <a:gd name="connsiteX21" fmla="*/ 203296 w 2235200"/>
                    <a:gd name="connsiteY21" fmla="*/ 1750157 h 2235200"/>
                    <a:gd name="connsiteX22" fmla="*/ 112638 w 2235200"/>
                    <a:gd name="connsiteY22" fmla="*/ 1593132 h 2235200"/>
                    <a:gd name="connsiteX23" fmla="*/ 286508 w 2235200"/>
                    <a:gd name="connsiteY23" fmla="*/ 1447245 h 2235200"/>
                    <a:gd name="connsiteX24" fmla="*/ 223884 w 2235200"/>
                    <a:gd name="connsiteY24" fmla="*/ 1092085 h 2235200"/>
                    <a:gd name="connsiteX25" fmla="*/ 10603 w 2235200"/>
                    <a:gd name="connsiteY25" fmla="*/ 1014463 h 2235200"/>
                    <a:gd name="connsiteX26" fmla="*/ 42088 w 2235200"/>
                    <a:gd name="connsiteY26" fmla="*/ 835901 h 2235200"/>
                    <a:gd name="connsiteX27" fmla="*/ 269055 w 2235200"/>
                    <a:gd name="connsiteY27" fmla="*/ 835907 h 2235200"/>
                    <a:gd name="connsiteX28" fmla="*/ 449374 w 2235200"/>
                    <a:gd name="connsiteY28" fmla="*/ 523585 h 2235200"/>
                    <a:gd name="connsiteX29" fmla="*/ 335886 w 2235200"/>
                    <a:gd name="connsiteY29" fmla="*/ 327029 h 2235200"/>
                    <a:gd name="connsiteX30" fmla="*/ 474782 w 2235200"/>
                    <a:gd name="connsiteY30" fmla="*/ 210481 h 2235200"/>
                    <a:gd name="connsiteX31" fmla="*/ 648645 w 2235200"/>
                    <a:gd name="connsiteY31" fmla="*/ 356377 h 2235200"/>
                    <a:gd name="connsiteX32" fmla="*/ 987535 w 2235200"/>
                    <a:gd name="connsiteY32" fmla="*/ 233031 h 2235200"/>
                    <a:gd name="connsiteX33" fmla="*/ 1026942 w 2235200"/>
                    <a:gd name="connsiteY33" fmla="*/ 9511 h 2235200"/>
                    <a:gd name="connsiteX34" fmla="*/ 1208258 w 2235200"/>
                    <a:gd name="connsiteY34" fmla="*/ 9511 h 2235200"/>
                    <a:gd name="connsiteX35" fmla="*/ 1247665 w 2235200"/>
                    <a:gd name="connsiteY35" fmla="*/ 233031 h 2235200"/>
                    <a:gd name="connsiteX36" fmla="*/ 1586555 w 2235200"/>
                    <a:gd name="connsiteY36" fmla="*/ 356377 h 2235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2235200" h="2235200">
                      <a:moveTo>
                        <a:pt x="1586555" y="356377"/>
                      </a:moveTo>
                      <a:lnTo>
                        <a:pt x="1760418" y="210481"/>
                      </a:lnTo>
                      <a:lnTo>
                        <a:pt x="1899314" y="327029"/>
                      </a:lnTo>
                      <a:lnTo>
                        <a:pt x="1785825" y="523585"/>
                      </a:lnTo>
                      <a:cubicBezTo>
                        <a:pt x="1866522" y="614364"/>
                        <a:pt x="1927876" y="720632"/>
                        <a:pt x="1966144" y="835907"/>
                      </a:cubicBezTo>
                      <a:lnTo>
                        <a:pt x="2193112" y="835901"/>
                      </a:lnTo>
                      <a:lnTo>
                        <a:pt x="2224597" y="1014463"/>
                      </a:lnTo>
                      <a:lnTo>
                        <a:pt x="2011316" y="1092085"/>
                      </a:lnTo>
                      <a:cubicBezTo>
                        <a:pt x="2014782" y="1213496"/>
                        <a:pt x="1993474" y="1334341"/>
                        <a:pt x="1948692" y="1447245"/>
                      </a:cubicBezTo>
                      <a:lnTo>
                        <a:pt x="2122562" y="1593132"/>
                      </a:lnTo>
                      <a:lnTo>
                        <a:pt x="2031904" y="1750157"/>
                      </a:lnTo>
                      <a:lnTo>
                        <a:pt x="1818627" y="1672524"/>
                      </a:lnTo>
                      <a:cubicBezTo>
                        <a:pt x="1743241" y="1767759"/>
                        <a:pt x="1649240" y="1846634"/>
                        <a:pt x="1542362" y="1904338"/>
                      </a:cubicBezTo>
                      <a:lnTo>
                        <a:pt x="1581780" y="2127856"/>
                      </a:lnTo>
                      <a:lnTo>
                        <a:pt x="1411398" y="2189870"/>
                      </a:lnTo>
                      <a:lnTo>
                        <a:pt x="1297919" y="1993308"/>
                      </a:lnTo>
                      <a:cubicBezTo>
                        <a:pt x="1178954" y="2017804"/>
                        <a:pt x="1056245" y="2017804"/>
                        <a:pt x="937280" y="1993308"/>
                      </a:cubicBezTo>
                      <a:lnTo>
                        <a:pt x="823802" y="2189870"/>
                      </a:lnTo>
                      <a:lnTo>
                        <a:pt x="653420" y="2127856"/>
                      </a:lnTo>
                      <a:lnTo>
                        <a:pt x="692839" y="1904338"/>
                      </a:lnTo>
                      <a:cubicBezTo>
                        <a:pt x="585961" y="1846634"/>
                        <a:pt x="491960" y="1767758"/>
                        <a:pt x="416574" y="1672524"/>
                      </a:cubicBezTo>
                      <a:lnTo>
                        <a:pt x="203296" y="1750157"/>
                      </a:lnTo>
                      <a:lnTo>
                        <a:pt x="112638" y="1593132"/>
                      </a:lnTo>
                      <a:lnTo>
                        <a:pt x="286508" y="1447245"/>
                      </a:lnTo>
                      <a:cubicBezTo>
                        <a:pt x="241726" y="1334341"/>
                        <a:pt x="220417" y="1213496"/>
                        <a:pt x="223884" y="1092085"/>
                      </a:cubicBezTo>
                      <a:lnTo>
                        <a:pt x="10603" y="1014463"/>
                      </a:lnTo>
                      <a:lnTo>
                        <a:pt x="42088" y="835901"/>
                      </a:lnTo>
                      <a:lnTo>
                        <a:pt x="269055" y="835907"/>
                      </a:lnTo>
                      <a:cubicBezTo>
                        <a:pt x="307323" y="720632"/>
                        <a:pt x="368677" y="614363"/>
                        <a:pt x="449374" y="523585"/>
                      </a:cubicBezTo>
                      <a:lnTo>
                        <a:pt x="335886" y="327029"/>
                      </a:lnTo>
                      <a:lnTo>
                        <a:pt x="474782" y="210481"/>
                      </a:lnTo>
                      <a:lnTo>
                        <a:pt x="648645" y="356377"/>
                      </a:lnTo>
                      <a:cubicBezTo>
                        <a:pt x="752057" y="292669"/>
                        <a:pt x="867366" y="250701"/>
                        <a:pt x="987535" y="233031"/>
                      </a:cubicBezTo>
                      <a:lnTo>
                        <a:pt x="1026942" y="9511"/>
                      </a:lnTo>
                      <a:lnTo>
                        <a:pt x="1208258" y="9511"/>
                      </a:lnTo>
                      <a:lnTo>
                        <a:pt x="1247665" y="233031"/>
                      </a:lnTo>
                      <a:cubicBezTo>
                        <a:pt x="1367834" y="250700"/>
                        <a:pt x="1483142" y="292669"/>
                        <a:pt x="1586555" y="35637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00175" tIns="574385" rIns="500175" bIns="613476" numCol="1" spcCol="1270" anchor="ctr" anchorCtr="0">
                  <a:noAutofit/>
                </a:bodyPr>
                <a:lstStyle/>
                <a:p>
                  <a:pPr lvl="0" algn="ctr" defTabSz="17780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he-IL" sz="4000" kern="1200" dirty="0"/>
                </a:p>
              </p:txBody>
            </p:sp>
            <p:sp>
              <p:nvSpPr>
                <p:cNvPr id="64" name="Freeform 63"/>
                <p:cNvSpPr/>
                <p:nvPr/>
              </p:nvSpPr>
              <p:spPr>
                <a:xfrm>
                  <a:off x="3068318" y="2555338"/>
                  <a:ext cx="1380725" cy="1591597"/>
                </a:xfrm>
                <a:custGeom>
                  <a:avLst/>
                  <a:gdLst>
                    <a:gd name="connsiteX0" fmla="*/ 1216350 w 1625600"/>
                    <a:gd name="connsiteY0" fmla="*/ 411723 h 1625600"/>
                    <a:gd name="connsiteX1" fmla="*/ 1456181 w 1625600"/>
                    <a:gd name="connsiteY1" fmla="*/ 339443 h 1625600"/>
                    <a:gd name="connsiteX2" fmla="*/ 1544430 w 1625600"/>
                    <a:gd name="connsiteY2" fmla="*/ 492294 h 1625600"/>
                    <a:gd name="connsiteX3" fmla="*/ 1361918 w 1625600"/>
                    <a:gd name="connsiteY3" fmla="*/ 663854 h 1625600"/>
                    <a:gd name="connsiteX4" fmla="*/ 1361918 w 1625600"/>
                    <a:gd name="connsiteY4" fmla="*/ 961747 h 1625600"/>
                    <a:gd name="connsiteX5" fmla="*/ 1544430 w 1625600"/>
                    <a:gd name="connsiteY5" fmla="*/ 1133306 h 1625600"/>
                    <a:gd name="connsiteX6" fmla="*/ 1456181 w 1625600"/>
                    <a:gd name="connsiteY6" fmla="*/ 1286157 h 1625600"/>
                    <a:gd name="connsiteX7" fmla="*/ 1216350 w 1625600"/>
                    <a:gd name="connsiteY7" fmla="*/ 1213877 h 1625600"/>
                    <a:gd name="connsiteX8" fmla="*/ 958367 w 1625600"/>
                    <a:gd name="connsiteY8" fmla="*/ 1362823 h 1625600"/>
                    <a:gd name="connsiteX9" fmla="*/ 901049 w 1625600"/>
                    <a:gd name="connsiteY9" fmla="*/ 1606663 h 1625600"/>
                    <a:gd name="connsiteX10" fmla="*/ 724551 w 1625600"/>
                    <a:gd name="connsiteY10" fmla="*/ 1606663 h 1625600"/>
                    <a:gd name="connsiteX11" fmla="*/ 667232 w 1625600"/>
                    <a:gd name="connsiteY11" fmla="*/ 1362823 h 1625600"/>
                    <a:gd name="connsiteX12" fmla="*/ 409249 w 1625600"/>
                    <a:gd name="connsiteY12" fmla="*/ 1213877 h 1625600"/>
                    <a:gd name="connsiteX13" fmla="*/ 169419 w 1625600"/>
                    <a:gd name="connsiteY13" fmla="*/ 1286157 h 1625600"/>
                    <a:gd name="connsiteX14" fmla="*/ 81170 w 1625600"/>
                    <a:gd name="connsiteY14" fmla="*/ 1133306 h 1625600"/>
                    <a:gd name="connsiteX15" fmla="*/ 263682 w 1625600"/>
                    <a:gd name="connsiteY15" fmla="*/ 961746 h 1625600"/>
                    <a:gd name="connsiteX16" fmla="*/ 263682 w 1625600"/>
                    <a:gd name="connsiteY16" fmla="*/ 663853 h 1625600"/>
                    <a:gd name="connsiteX17" fmla="*/ 81170 w 1625600"/>
                    <a:gd name="connsiteY17" fmla="*/ 492294 h 1625600"/>
                    <a:gd name="connsiteX18" fmla="*/ 169419 w 1625600"/>
                    <a:gd name="connsiteY18" fmla="*/ 339443 h 1625600"/>
                    <a:gd name="connsiteX19" fmla="*/ 409250 w 1625600"/>
                    <a:gd name="connsiteY19" fmla="*/ 411723 h 1625600"/>
                    <a:gd name="connsiteX20" fmla="*/ 667233 w 1625600"/>
                    <a:gd name="connsiteY20" fmla="*/ 262777 h 1625600"/>
                    <a:gd name="connsiteX21" fmla="*/ 724551 w 1625600"/>
                    <a:gd name="connsiteY21" fmla="*/ 18937 h 1625600"/>
                    <a:gd name="connsiteX22" fmla="*/ 901049 w 1625600"/>
                    <a:gd name="connsiteY22" fmla="*/ 18937 h 1625600"/>
                    <a:gd name="connsiteX23" fmla="*/ 958368 w 1625600"/>
                    <a:gd name="connsiteY23" fmla="*/ 262777 h 1625600"/>
                    <a:gd name="connsiteX24" fmla="*/ 1216351 w 1625600"/>
                    <a:gd name="connsiteY24" fmla="*/ 411723 h 1625600"/>
                    <a:gd name="connsiteX25" fmla="*/ 1216350 w 1625600"/>
                    <a:gd name="connsiteY25" fmla="*/ 411723 h 1625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625600" h="1625600">
                      <a:moveTo>
                        <a:pt x="1216350" y="411723"/>
                      </a:moveTo>
                      <a:lnTo>
                        <a:pt x="1456181" y="339443"/>
                      </a:lnTo>
                      <a:lnTo>
                        <a:pt x="1544430" y="492294"/>
                      </a:lnTo>
                      <a:lnTo>
                        <a:pt x="1361918" y="663854"/>
                      </a:lnTo>
                      <a:cubicBezTo>
                        <a:pt x="1388374" y="761389"/>
                        <a:pt x="1388374" y="864211"/>
                        <a:pt x="1361918" y="961747"/>
                      </a:cubicBezTo>
                      <a:lnTo>
                        <a:pt x="1544430" y="1133306"/>
                      </a:lnTo>
                      <a:lnTo>
                        <a:pt x="1456181" y="1286157"/>
                      </a:lnTo>
                      <a:lnTo>
                        <a:pt x="1216350" y="1213877"/>
                      </a:lnTo>
                      <a:cubicBezTo>
                        <a:pt x="1145110" y="1285556"/>
                        <a:pt x="1056063" y="1336967"/>
                        <a:pt x="958367" y="1362823"/>
                      </a:cubicBezTo>
                      <a:lnTo>
                        <a:pt x="901049" y="1606663"/>
                      </a:lnTo>
                      <a:lnTo>
                        <a:pt x="724551" y="1606663"/>
                      </a:lnTo>
                      <a:lnTo>
                        <a:pt x="667232" y="1362823"/>
                      </a:lnTo>
                      <a:cubicBezTo>
                        <a:pt x="569536" y="1336967"/>
                        <a:pt x="480489" y="1285556"/>
                        <a:pt x="409249" y="1213877"/>
                      </a:cubicBezTo>
                      <a:lnTo>
                        <a:pt x="169419" y="1286157"/>
                      </a:lnTo>
                      <a:lnTo>
                        <a:pt x="81170" y="1133306"/>
                      </a:lnTo>
                      <a:lnTo>
                        <a:pt x="263682" y="961746"/>
                      </a:lnTo>
                      <a:cubicBezTo>
                        <a:pt x="237226" y="864211"/>
                        <a:pt x="237226" y="761389"/>
                        <a:pt x="263682" y="663853"/>
                      </a:cubicBezTo>
                      <a:lnTo>
                        <a:pt x="81170" y="492294"/>
                      </a:lnTo>
                      <a:lnTo>
                        <a:pt x="169419" y="339443"/>
                      </a:lnTo>
                      <a:lnTo>
                        <a:pt x="409250" y="411723"/>
                      </a:lnTo>
                      <a:cubicBezTo>
                        <a:pt x="480490" y="340044"/>
                        <a:pt x="569537" y="288633"/>
                        <a:pt x="667233" y="262777"/>
                      </a:cubicBezTo>
                      <a:lnTo>
                        <a:pt x="724551" y="18937"/>
                      </a:lnTo>
                      <a:lnTo>
                        <a:pt x="901049" y="18937"/>
                      </a:lnTo>
                      <a:lnTo>
                        <a:pt x="958368" y="262777"/>
                      </a:lnTo>
                      <a:cubicBezTo>
                        <a:pt x="1056064" y="288633"/>
                        <a:pt x="1145111" y="340044"/>
                        <a:pt x="1216351" y="411723"/>
                      </a:cubicBezTo>
                      <a:lnTo>
                        <a:pt x="1216350" y="411723"/>
                      </a:lnTo>
                      <a:close/>
                    </a:path>
                  </a:pathLst>
                </a:custGeom>
                <a:solidFill>
                  <a:schemeClr val="bg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439730" tIns="442203" rIns="439730" bIns="442203" numCol="1" spcCol="1270" anchor="ctr" anchorCtr="0">
                  <a:noAutofit/>
                </a:bodyPr>
                <a:lstStyle/>
                <a:p>
                  <a:pPr lvl="0" algn="ctr" defTabSz="10668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he-IL" sz="2400" kern="1200" dirty="0"/>
                </a:p>
              </p:txBody>
            </p:sp>
            <p:sp>
              <p:nvSpPr>
                <p:cNvPr id="65" name="Freeform 64"/>
                <p:cNvSpPr/>
                <p:nvPr/>
              </p:nvSpPr>
              <p:spPr>
                <a:xfrm>
                  <a:off x="3928764" y="1396998"/>
                  <a:ext cx="1644435" cy="1539424"/>
                </a:xfrm>
                <a:custGeom>
                  <a:avLst/>
                  <a:gdLst>
                    <a:gd name="connsiteX0" fmla="*/ 1191775 w 1592756"/>
                    <a:gd name="connsiteY0" fmla="*/ 403405 h 1592756"/>
                    <a:gd name="connsiteX1" fmla="*/ 1426760 w 1592756"/>
                    <a:gd name="connsiteY1" fmla="*/ 332584 h 1592756"/>
                    <a:gd name="connsiteX2" fmla="*/ 1513226 w 1592756"/>
                    <a:gd name="connsiteY2" fmla="*/ 482348 h 1592756"/>
                    <a:gd name="connsiteX3" fmla="*/ 1334401 w 1592756"/>
                    <a:gd name="connsiteY3" fmla="*/ 650441 h 1592756"/>
                    <a:gd name="connsiteX4" fmla="*/ 1334401 w 1592756"/>
                    <a:gd name="connsiteY4" fmla="*/ 942315 h 1592756"/>
                    <a:gd name="connsiteX5" fmla="*/ 1513226 w 1592756"/>
                    <a:gd name="connsiteY5" fmla="*/ 1110408 h 1592756"/>
                    <a:gd name="connsiteX6" fmla="*/ 1426760 w 1592756"/>
                    <a:gd name="connsiteY6" fmla="*/ 1260172 h 1592756"/>
                    <a:gd name="connsiteX7" fmla="*/ 1191775 w 1592756"/>
                    <a:gd name="connsiteY7" fmla="*/ 1189351 h 1592756"/>
                    <a:gd name="connsiteX8" fmla="*/ 939004 w 1592756"/>
                    <a:gd name="connsiteY8" fmla="*/ 1335288 h 1592756"/>
                    <a:gd name="connsiteX9" fmla="*/ 882844 w 1592756"/>
                    <a:gd name="connsiteY9" fmla="*/ 1574202 h 1592756"/>
                    <a:gd name="connsiteX10" fmla="*/ 709912 w 1592756"/>
                    <a:gd name="connsiteY10" fmla="*/ 1574202 h 1592756"/>
                    <a:gd name="connsiteX11" fmla="*/ 653752 w 1592756"/>
                    <a:gd name="connsiteY11" fmla="*/ 1335288 h 1592756"/>
                    <a:gd name="connsiteX12" fmla="*/ 400981 w 1592756"/>
                    <a:gd name="connsiteY12" fmla="*/ 1189351 h 1592756"/>
                    <a:gd name="connsiteX13" fmla="*/ 165996 w 1592756"/>
                    <a:gd name="connsiteY13" fmla="*/ 1260172 h 1592756"/>
                    <a:gd name="connsiteX14" fmla="*/ 79530 w 1592756"/>
                    <a:gd name="connsiteY14" fmla="*/ 1110408 h 1592756"/>
                    <a:gd name="connsiteX15" fmla="*/ 258355 w 1592756"/>
                    <a:gd name="connsiteY15" fmla="*/ 942315 h 1592756"/>
                    <a:gd name="connsiteX16" fmla="*/ 258355 w 1592756"/>
                    <a:gd name="connsiteY16" fmla="*/ 650441 h 1592756"/>
                    <a:gd name="connsiteX17" fmla="*/ 79530 w 1592756"/>
                    <a:gd name="connsiteY17" fmla="*/ 482348 h 1592756"/>
                    <a:gd name="connsiteX18" fmla="*/ 165996 w 1592756"/>
                    <a:gd name="connsiteY18" fmla="*/ 332584 h 1592756"/>
                    <a:gd name="connsiteX19" fmla="*/ 400981 w 1592756"/>
                    <a:gd name="connsiteY19" fmla="*/ 403405 h 1592756"/>
                    <a:gd name="connsiteX20" fmla="*/ 653752 w 1592756"/>
                    <a:gd name="connsiteY20" fmla="*/ 257468 h 1592756"/>
                    <a:gd name="connsiteX21" fmla="*/ 709912 w 1592756"/>
                    <a:gd name="connsiteY21" fmla="*/ 18554 h 1592756"/>
                    <a:gd name="connsiteX22" fmla="*/ 882844 w 1592756"/>
                    <a:gd name="connsiteY22" fmla="*/ 18554 h 1592756"/>
                    <a:gd name="connsiteX23" fmla="*/ 939004 w 1592756"/>
                    <a:gd name="connsiteY23" fmla="*/ 257468 h 1592756"/>
                    <a:gd name="connsiteX24" fmla="*/ 1191775 w 1592756"/>
                    <a:gd name="connsiteY24" fmla="*/ 403405 h 1592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592756" h="1592756">
                      <a:moveTo>
                        <a:pt x="1025173" y="402893"/>
                      </a:moveTo>
                      <a:lnTo>
                        <a:pt x="1195533" y="297380"/>
                      </a:lnTo>
                      <a:lnTo>
                        <a:pt x="1295376" y="397223"/>
                      </a:lnTo>
                      <a:lnTo>
                        <a:pt x="1189863" y="567584"/>
                      </a:lnTo>
                      <a:cubicBezTo>
                        <a:pt x="1230502" y="637475"/>
                        <a:pt x="1251792" y="716930"/>
                        <a:pt x="1251543" y="797777"/>
                      </a:cubicBezTo>
                      <a:lnTo>
                        <a:pt x="1428100" y="892558"/>
                      </a:lnTo>
                      <a:lnTo>
                        <a:pt x="1391556" y="1028945"/>
                      </a:lnTo>
                      <a:lnTo>
                        <a:pt x="1191263" y="1022749"/>
                      </a:lnTo>
                      <a:cubicBezTo>
                        <a:pt x="1151054" y="1092889"/>
                        <a:pt x="1092889" y="1151054"/>
                        <a:pt x="1022749" y="1191262"/>
                      </a:cubicBezTo>
                      <a:lnTo>
                        <a:pt x="1028945" y="1391556"/>
                      </a:lnTo>
                      <a:lnTo>
                        <a:pt x="892558" y="1428101"/>
                      </a:lnTo>
                      <a:lnTo>
                        <a:pt x="797778" y="1251543"/>
                      </a:lnTo>
                      <a:cubicBezTo>
                        <a:pt x="716930" y="1251791"/>
                        <a:pt x="637475" y="1230502"/>
                        <a:pt x="567583" y="1189863"/>
                      </a:cubicBezTo>
                      <a:lnTo>
                        <a:pt x="397223" y="1295376"/>
                      </a:lnTo>
                      <a:lnTo>
                        <a:pt x="297380" y="1195533"/>
                      </a:lnTo>
                      <a:lnTo>
                        <a:pt x="402893" y="1025172"/>
                      </a:lnTo>
                      <a:cubicBezTo>
                        <a:pt x="362254" y="955281"/>
                        <a:pt x="340964" y="875826"/>
                        <a:pt x="341213" y="794979"/>
                      </a:cubicBezTo>
                      <a:lnTo>
                        <a:pt x="164656" y="700198"/>
                      </a:lnTo>
                      <a:lnTo>
                        <a:pt x="201200" y="563811"/>
                      </a:lnTo>
                      <a:lnTo>
                        <a:pt x="401493" y="570007"/>
                      </a:lnTo>
                      <a:cubicBezTo>
                        <a:pt x="441702" y="499867"/>
                        <a:pt x="499867" y="441702"/>
                        <a:pt x="570007" y="401494"/>
                      </a:cubicBezTo>
                      <a:lnTo>
                        <a:pt x="563811" y="201200"/>
                      </a:lnTo>
                      <a:lnTo>
                        <a:pt x="700198" y="164655"/>
                      </a:lnTo>
                      <a:lnTo>
                        <a:pt x="794978" y="341213"/>
                      </a:lnTo>
                      <a:cubicBezTo>
                        <a:pt x="875826" y="340965"/>
                        <a:pt x="955281" y="362254"/>
                        <a:pt x="1025173" y="40289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62611" tIns="562611" rIns="562609" bIns="562609" numCol="1" spcCol="1270" anchor="ctr" anchorCtr="0">
                  <a:noAutofit/>
                </a:bodyPr>
                <a:lstStyle/>
                <a:p>
                  <a:pPr lvl="0" algn="ctr" defTabSz="120015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he-IL" sz="2700" kern="1200" dirty="0"/>
                </a:p>
              </p:txBody>
            </p:sp>
            <p:sp>
              <p:nvSpPr>
                <p:cNvPr id="66" name="Circular Arrow 65"/>
                <p:cNvSpPr/>
                <p:nvPr/>
              </p:nvSpPr>
              <p:spPr>
                <a:xfrm>
                  <a:off x="4195505" y="2889320"/>
                  <a:ext cx="2861056" cy="2861056"/>
                </a:xfrm>
                <a:prstGeom prst="circularArrow">
                  <a:avLst>
                    <a:gd name="adj1" fmla="val 4687"/>
                    <a:gd name="adj2" fmla="val 299029"/>
                    <a:gd name="adj3" fmla="val 2513083"/>
                    <a:gd name="adj4" fmla="val 15867933"/>
                    <a:gd name="adj5" fmla="val 5469"/>
                  </a:avLst>
                </a:prstGeom>
                <a:grpFill/>
              </p:spPr>
              <p:style>
                <a:ln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7" name="Shape 66"/>
                <p:cNvSpPr/>
                <p:nvPr/>
              </p:nvSpPr>
              <p:spPr>
                <a:xfrm>
                  <a:off x="2780429" y="2338355"/>
                  <a:ext cx="2078736" cy="2078736"/>
                </a:xfrm>
                <a:prstGeom prst="leftCircularArrow">
                  <a:avLst>
                    <a:gd name="adj1" fmla="val 6452"/>
                    <a:gd name="adj2" fmla="val 429999"/>
                    <a:gd name="adj3" fmla="val 10489124"/>
                    <a:gd name="adj4" fmla="val 14837806"/>
                    <a:gd name="adj5" fmla="val 7527"/>
                  </a:avLst>
                </a:prstGeom>
                <a:grpFill/>
              </p:spPr>
              <p:style>
                <a:ln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8" name="Circular Arrow 67"/>
                <p:cNvSpPr/>
                <p:nvPr/>
              </p:nvSpPr>
              <p:spPr>
                <a:xfrm>
                  <a:off x="3610400" y="1227668"/>
                  <a:ext cx="2241296" cy="2241296"/>
                </a:xfrm>
                <a:prstGeom prst="circularArrow">
                  <a:avLst>
                    <a:gd name="adj1" fmla="val 5984"/>
                    <a:gd name="adj2" fmla="val 394124"/>
                    <a:gd name="adj3" fmla="val 13313824"/>
                    <a:gd name="adj4" fmla="val 10508221"/>
                    <a:gd name="adj5" fmla="val 6981"/>
                  </a:avLst>
                </a:prstGeom>
                <a:grpFill/>
              </p:spPr>
              <p:style>
                <a:ln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tint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</p:grpSp>
          <p:sp>
            <p:nvSpPr>
              <p:cNvPr id="62" name="Rectangle 61"/>
              <p:cNvSpPr/>
              <p:nvPr/>
            </p:nvSpPr>
            <p:spPr>
              <a:xfrm>
                <a:off x="2306188" y="3219785"/>
                <a:ext cx="4137292" cy="594405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ctr" defTabSz="914023"/>
                <a:r>
                  <a:rPr lang="en-US" dirty="0" smtClean="0">
                    <a:solidFill>
                      <a:schemeClr val="lt1">
                        <a:alpha val="99000"/>
                      </a:schemeClr>
                    </a:solidFill>
                  </a:rPr>
                  <a:t>Integration Tools</a:t>
                </a:r>
                <a:endParaRPr lang="he-IL" dirty="0">
                  <a:solidFill>
                    <a:schemeClr val="lt1">
                      <a:alpha val="99000"/>
                    </a:schemeClr>
                  </a:solidFill>
                </a:endParaRPr>
              </a:p>
            </p:txBody>
          </p:sp>
        </p:grp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604203" y="2066540"/>
            <a:ext cx="761152" cy="748718"/>
          </a:xfrm>
          <a:prstGeom prst="rect">
            <a:avLst/>
          </a:prstGeom>
        </p:spPr>
      </p:pic>
      <p:sp>
        <p:nvSpPr>
          <p:cNvPr id="84" name="Rectangle 83"/>
          <p:cNvSpPr/>
          <p:nvPr/>
        </p:nvSpPr>
        <p:spPr>
          <a:xfrm>
            <a:off x="5532631" y="1821337"/>
            <a:ext cx="9169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chemeClr val="bg1">
                    <a:alpha val="99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In Memory</a:t>
            </a:r>
            <a:endParaRPr lang="he-IL" sz="1200" dirty="0">
              <a:latin typeface="Gisha" panose="020B0502040204020203" pitchFamily="34" charset="-79"/>
              <a:cs typeface="Gisha" panose="020B0502040204020203" pitchFamily="34" charset="-79"/>
            </a:endParaRPr>
          </a:p>
        </p:txBody>
      </p:sp>
      <p:sp>
        <p:nvSpPr>
          <p:cNvPr id="85" name="Title 1"/>
          <p:cNvSpPr txBox="1">
            <a:spLocks/>
          </p:cNvSpPr>
          <p:nvPr/>
        </p:nvSpPr>
        <p:spPr>
          <a:xfrm>
            <a:off x="457200" y="350838"/>
            <a:ext cx="8123238" cy="5635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In the Datawarehouse ecosys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169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Data Mi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184840"/>
            <a:ext cx="8111322" cy="4855742"/>
          </a:xfrm>
        </p:spPr>
        <p:txBody>
          <a:bodyPr/>
          <a:lstStyle/>
          <a:p>
            <a:r>
              <a:rPr lang="en-US" sz="2800" dirty="0" smtClean="0"/>
              <a:t>Data Mining</a:t>
            </a: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Deduce knowledge by examining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Perform predictions on the knowledge extracted</a:t>
            </a:r>
            <a:endParaRPr lang="en-US" sz="2400" dirty="0"/>
          </a:p>
          <a:p>
            <a:pPr marL="342900" indent="-342900"/>
            <a:endParaRPr lang="en-US" sz="2400" b="0" dirty="0">
              <a:solidFill>
                <a:schemeClr val="bg2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78978" y="2769742"/>
            <a:ext cx="2878722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Examining </a:t>
            </a:r>
          </a:p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Data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512861" y="2769741"/>
            <a:ext cx="2878722" cy="1232631"/>
          </a:xfrm>
          <a:prstGeom prst="rect">
            <a:avLst/>
          </a:prstGeom>
          <a:solidFill>
            <a:srgbClr val="ED193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Gaining</a:t>
            </a:r>
          </a:p>
          <a:p>
            <a:pPr algn="ctr" defTabSz="914023"/>
            <a:r>
              <a:rPr lang="en-US" sz="2600" dirty="0" smtClean="0">
                <a:solidFill>
                  <a:schemeClr val="lt1">
                    <a:alpha val="99000"/>
                  </a:schemeClr>
                </a:solidFill>
              </a:rPr>
              <a:t>Knowledge</a:t>
            </a:r>
            <a:endParaRPr lang="en-US" sz="2600" dirty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578978" y="4049998"/>
            <a:ext cx="2878722" cy="1990584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2000" dirty="0"/>
              <a:t>scanning samples of known facts about</a:t>
            </a:r>
          </a:p>
          <a:p>
            <a:r>
              <a:rPr lang="en-US" sz="2000" dirty="0"/>
              <a:t>“cases” using their attributes - “variables”</a:t>
            </a:r>
            <a:endParaRPr lang="en-US" sz="2000" dirty="0" smtClean="0">
              <a:solidFill>
                <a:schemeClr val="lt1">
                  <a:alpha val="99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512861" y="4049998"/>
            <a:ext cx="2878722" cy="1990584"/>
          </a:xfrm>
          <a:prstGeom prst="rect">
            <a:avLst/>
          </a:prstGeom>
          <a:solidFill>
            <a:srgbClr val="46464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18" rIns="91440" bIns="45718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2000" dirty="0" smtClean="0">
                <a:solidFill>
                  <a:schemeClr val="lt1">
                    <a:alpha val="99000"/>
                  </a:schemeClr>
                </a:solidFill>
              </a:rPr>
              <a:t>Patterns, Cluster, Rules, Decision Trees, Neural Networks, Equations, Association Rules</a:t>
            </a:r>
          </a:p>
        </p:txBody>
      </p:sp>
      <p:sp>
        <p:nvSpPr>
          <p:cNvPr id="8" name="Diamond 7"/>
          <p:cNvSpPr/>
          <p:nvPr/>
        </p:nvSpPr>
        <p:spPr>
          <a:xfrm>
            <a:off x="4165400" y="3152775"/>
            <a:ext cx="647700" cy="609600"/>
          </a:xfrm>
          <a:prstGeom prst="diamond">
            <a:avLst/>
          </a:prstGeom>
          <a:solidFill>
            <a:srgbClr val="46464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45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</p:bld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mining platforms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057840"/>
            <a:ext cx="8111322" cy="4855742"/>
          </a:xfrm>
        </p:spPr>
        <p:txBody>
          <a:bodyPr/>
          <a:lstStyle/>
          <a:p>
            <a:r>
              <a:rPr lang="en-US" sz="2800" dirty="0" smtClean="0"/>
              <a:t>Many platforms exi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bg2"/>
                </a:solidFill>
              </a:rPr>
              <a:t>Proprietary industry specific</a:t>
            </a:r>
          </a:p>
          <a:p>
            <a:pPr marL="742950" lvl="1" indent="-457200"/>
            <a:r>
              <a:rPr lang="en-US" sz="2400" b="1" u="sng" dirty="0" smtClean="0">
                <a:solidFill>
                  <a:schemeClr val="bg2"/>
                </a:solidFill>
              </a:rPr>
              <a:t>AGT </a:t>
            </a:r>
            <a:r>
              <a:rPr lang="en-US" sz="2400" b="1" u="sng" dirty="0" err="1" smtClean="0">
                <a:solidFill>
                  <a:schemeClr val="bg2"/>
                </a:solidFill>
              </a:rPr>
              <a:t>Readymind</a:t>
            </a:r>
            <a:r>
              <a:rPr lang="en-US" sz="2400" b="0" dirty="0" smtClean="0">
                <a:solidFill>
                  <a:schemeClr val="bg2"/>
                </a:solidFill>
              </a:rPr>
              <a:t> -  hydrology model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Generic platforms</a:t>
            </a:r>
          </a:p>
          <a:p>
            <a:pPr marL="628650" lvl="1" indent="-342900"/>
            <a:r>
              <a:rPr lang="en-US" sz="2400" b="0" dirty="0" err="1" smtClean="0">
                <a:solidFill>
                  <a:schemeClr val="bg2"/>
                </a:solidFill>
              </a:rPr>
              <a:t>RapidMiner</a:t>
            </a:r>
            <a:endParaRPr lang="en-US" sz="2400" b="0" dirty="0" smtClean="0">
              <a:solidFill>
                <a:schemeClr val="bg2"/>
              </a:solidFill>
            </a:endParaRPr>
          </a:p>
          <a:p>
            <a:pPr marL="628650" lvl="1" indent="-342900"/>
            <a:r>
              <a:rPr lang="en-US" sz="2400" b="0" dirty="0" err="1" smtClean="0">
                <a:solidFill>
                  <a:schemeClr val="bg2"/>
                </a:solidFill>
              </a:rPr>
              <a:t>RapidAnalytics</a:t>
            </a:r>
            <a:endParaRPr lang="en-US" sz="2400" b="0" dirty="0" smtClean="0">
              <a:solidFill>
                <a:schemeClr val="bg2"/>
              </a:solidFill>
            </a:endParaRPr>
          </a:p>
          <a:p>
            <a:pPr marL="628650" lvl="1" indent="-342900"/>
            <a:r>
              <a:rPr lang="en-US" sz="2400" dirty="0"/>
              <a:t>R</a:t>
            </a:r>
            <a:endParaRPr lang="en-US" sz="2400" b="0" dirty="0" smtClean="0">
              <a:solidFill>
                <a:schemeClr val="bg2"/>
              </a:solidFill>
            </a:endParaRPr>
          </a:p>
          <a:p>
            <a:pPr marL="342900" indent="-342900"/>
            <a:r>
              <a:rPr lang="en-US" sz="2400" dirty="0" smtClean="0"/>
              <a:t>Big Data platforms</a:t>
            </a:r>
            <a:endParaRPr lang="en-US" sz="2400" b="0" dirty="0" smtClean="0">
              <a:solidFill>
                <a:schemeClr val="bg2"/>
              </a:solidFill>
            </a:endParaRPr>
          </a:p>
          <a:p>
            <a:pPr marL="628650" lvl="1" indent="-342900"/>
            <a:r>
              <a:rPr lang="en-US" sz="2400" dirty="0" err="1" smtClean="0"/>
              <a:t>Weka</a:t>
            </a:r>
            <a:endParaRPr lang="en-US" sz="2400" dirty="0" smtClean="0"/>
          </a:p>
          <a:p>
            <a:pPr marL="628650" lvl="1" indent="-342900"/>
            <a:r>
              <a:rPr lang="en-US" sz="2400" dirty="0"/>
              <a:t>Apache </a:t>
            </a:r>
            <a:r>
              <a:rPr lang="en-US" sz="2400" dirty="0" smtClean="0"/>
              <a:t>Mahout</a:t>
            </a:r>
          </a:p>
          <a:p>
            <a:pPr marL="0" indent="0"/>
            <a:r>
              <a:rPr lang="en-US" sz="2400" b="1" dirty="0">
                <a:solidFill>
                  <a:schemeClr val="accent1"/>
                </a:solidFill>
              </a:rPr>
              <a:t>Many More</a:t>
            </a:r>
          </a:p>
          <a:p>
            <a:pPr marL="628650" lvl="1" indent="-342900"/>
            <a:endParaRPr lang="en-US" sz="2400" dirty="0"/>
          </a:p>
          <a:p>
            <a:pPr marL="628650" lvl="1" indent="-342900"/>
            <a:endParaRPr lang="en-US" sz="2400" b="0" dirty="0">
              <a:solidFill>
                <a:schemeClr val="bg2"/>
              </a:solidFill>
            </a:endParaRPr>
          </a:p>
          <a:p>
            <a:pPr marL="342900" indent="-342900"/>
            <a:endParaRPr lang="en-US" sz="24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93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can data mining do?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057840"/>
            <a:ext cx="8111322" cy="4855742"/>
          </a:xfrm>
        </p:spPr>
        <p:txBody>
          <a:bodyPr/>
          <a:lstStyle/>
          <a:p>
            <a:pPr marL="0" indent="0"/>
            <a:r>
              <a:rPr lang="en-US" sz="2400" b="0" dirty="0" smtClean="0">
                <a:solidFill>
                  <a:schemeClr val="bg2"/>
                </a:solidFill>
              </a:rPr>
              <a:t>Detect patterns in data</a:t>
            </a:r>
          </a:p>
          <a:p>
            <a:pPr marL="742950" lvl="1" indent="-457200"/>
            <a:r>
              <a:rPr lang="en-US" sz="2400" dirty="0" smtClean="0"/>
              <a:t>Clustering</a:t>
            </a:r>
          </a:p>
          <a:p>
            <a:pPr marL="742950" lvl="1" indent="-457200"/>
            <a:r>
              <a:rPr lang="en-US" sz="2400" b="0" dirty="0" smtClean="0">
                <a:solidFill>
                  <a:schemeClr val="bg2"/>
                </a:solidFill>
              </a:rPr>
              <a:t>Decision Tree</a:t>
            </a:r>
          </a:p>
          <a:p>
            <a:pPr marL="742950" lvl="1" indent="-457200"/>
            <a:r>
              <a:rPr lang="en-US" sz="2400" dirty="0" smtClean="0"/>
              <a:t>Anomaly detection</a:t>
            </a:r>
            <a:endParaRPr lang="en-US" sz="2400" b="0" dirty="0" smtClean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Forecast behavior</a:t>
            </a:r>
          </a:p>
          <a:p>
            <a:pPr marL="742950" lvl="1" indent="-457200"/>
            <a:r>
              <a:rPr lang="en-US" sz="2400" dirty="0" smtClean="0"/>
              <a:t>Estimation</a:t>
            </a:r>
          </a:p>
          <a:p>
            <a:pPr marL="742950" lvl="1" indent="-457200"/>
            <a:r>
              <a:rPr lang="en-US" sz="2400" b="0" dirty="0" smtClean="0">
                <a:solidFill>
                  <a:schemeClr val="bg2"/>
                </a:solidFill>
              </a:rPr>
              <a:t>Predic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bg2"/>
                </a:solidFill>
              </a:rPr>
              <a:t>Learn and Analyze behavior</a:t>
            </a:r>
          </a:p>
          <a:p>
            <a:pPr marL="742950" lvl="1" indent="-457200"/>
            <a:r>
              <a:rPr lang="en-US" sz="2400" dirty="0" smtClean="0"/>
              <a:t>Neural Network</a:t>
            </a:r>
          </a:p>
          <a:p>
            <a:pPr marL="742950" lvl="1" indent="-457200"/>
            <a:r>
              <a:rPr lang="en-US" sz="2400" b="0" dirty="0" smtClean="0">
                <a:solidFill>
                  <a:schemeClr val="bg2"/>
                </a:solidFill>
              </a:rPr>
              <a:t>Classific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accent1"/>
              </a:solidFill>
            </a:endParaRPr>
          </a:p>
          <a:p>
            <a:pPr marL="628650" lvl="1" indent="-342900"/>
            <a:endParaRPr lang="en-US" sz="2400" dirty="0"/>
          </a:p>
          <a:p>
            <a:pPr marL="628650" lvl="1" indent="-342900"/>
            <a:endParaRPr lang="en-US" sz="2400" b="0" dirty="0">
              <a:solidFill>
                <a:schemeClr val="bg2"/>
              </a:solidFill>
            </a:endParaRPr>
          </a:p>
          <a:p>
            <a:pPr marL="342900" indent="-342900"/>
            <a:endParaRPr lang="en-US" sz="24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75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eQmswsnEaO4Sx9KE17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T2Nm3S0ESkXh_xkX5f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eQmswsnEaO4Sx9KE17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T2Nm3S0ESkXh_xkX5f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HSo29Lykqro7So8yMd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HSo29Lykqro7So8yMd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HSo29Lykqro7So8yMd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HSo29Lykqro7So8yMd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eQmswsnEaO4Sx9KE17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T2Nm3S0ESkXh_xkX5f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eQmswsnEaO4Sx9KE17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T2Nm3S0ESkXh_xkX5f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T2Nm3S0ESkXh_xkX5f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eQmswsnEaO4Sx9KE17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T2Nm3S0ESkXh_xkX5f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eQmswsnEaO4Sx9KE17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ZjS79VMkWC3TlJ2udP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pQVC773kiTYvI2oIZQ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54.OtM0eoRgzPGKUV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54.OtM0eoRgzPGKUV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54.OtM0eoRgzPGKUV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ZjS79VMkWC3TlJ2udPm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pQVC773kiTYvI2oIZQ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54.OtM0eoRgzPGKUVp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54.OtM0eoRgzPGKUV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54.OtM0eoRgzPGKUV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126HD4P0SVcC_1Hp6ZM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wkWQJhlUCJSFYwhC7T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N4kVIS2Ea_0JQpI.eQ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Qjit4ZWE2zk4ikTYBjJ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N4kVIS2Ea_0JQpI.eQ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Qjit4ZWE2zk4ikTYBj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N4kVIS2Ea_0JQpI.eQ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Qjit4ZWE2zk4ikTYBj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126HD4P0SVcC_1Hp6Z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wkWQJhlUCJSFYwhC7T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54.OtM0eoRgzPGKUVp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eQmswsnEaO4Sx9KE17V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T2Nm3S0ESkXh_xkX5f3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eQmswsnEaO4Sx9KE17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T2Nm3S0ESkXh_xkX5f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fi8H2w0UmgY9.VjU3w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wo3vSNk0aGXVKFM1UE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yzpSxgUWcTvGyFb76v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qTmoqaU.f2CAmaREZQ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FppLceEG.Yn.rMVdW4g"/>
</p:tagLst>
</file>

<file path=ppt/theme/theme1.xml><?xml version="1.0" encoding="utf-8"?>
<a:theme xmlns:a="http://schemas.openxmlformats.org/drawingml/2006/main" name="Office Theme">
  <a:themeElements>
    <a:clrScheme name="Custom 14">
      <a:dk1>
        <a:srgbClr val="000000"/>
      </a:dk1>
      <a:lt1>
        <a:srgbClr val="FFFFFF"/>
      </a:lt1>
      <a:dk2>
        <a:srgbClr val="E6E6E6"/>
      </a:dk2>
      <a:lt2>
        <a:srgbClr val="464646"/>
      </a:lt2>
      <a:accent1>
        <a:srgbClr val="ED1933"/>
      </a:accent1>
      <a:accent2>
        <a:srgbClr val="B60E22"/>
      </a:accent2>
      <a:accent3>
        <a:srgbClr val="6B61A1"/>
      </a:accent3>
      <a:accent4>
        <a:srgbClr val="443D67"/>
      </a:accent4>
      <a:accent5>
        <a:srgbClr val="918AA8"/>
      </a:accent5>
      <a:accent6>
        <a:srgbClr val="7D7D7D"/>
      </a:accent6>
      <a:hlink>
        <a:srgbClr val="C00000"/>
      </a:hlink>
      <a:folHlink>
        <a:srgbClr val="FF1705"/>
      </a:folHlink>
    </a:clrScheme>
    <a:fontScheme name="AGT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EB6B8B0BB94A40A36B8920BD497724" ma:contentTypeVersion="1" ma:contentTypeDescription="Create a new document." ma:contentTypeScope="" ma:versionID="279fc980e8f3200fb717e68000575729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dcce58c87e9fcebab8021569449a8d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10DA300-B151-49EB-93F4-42580F1650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F840EE8-9D1C-4711-A4BB-395D852E6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DD88D92-044A-4974-9022-A72737F94CF7}">
  <ds:schemaRefs>
    <ds:schemaRef ds:uri="http://schemas.openxmlformats.org/package/2006/metadata/core-properties"/>
    <ds:schemaRef ds:uri="http://schemas.microsoft.com/sharepoint/v3"/>
    <ds:schemaRef ds:uri="http://purl.org/dc/dcmitype/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283</TotalTime>
  <Words>3726</Words>
  <Application>Microsoft Office PowerPoint</Application>
  <PresentationFormat>On-screen Show (4:3)</PresentationFormat>
  <Paragraphs>1120</Paragraphs>
  <Slides>103</Slides>
  <Notes>25</Notes>
  <HiddenSlides>0</HiddenSlides>
  <MMClips>0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3</vt:i4>
      </vt:variant>
    </vt:vector>
  </HeadingPairs>
  <TitlesOfParts>
    <vt:vector size="120" baseType="lpstr">
      <vt:lpstr>Aharoni</vt:lpstr>
      <vt:lpstr>Arial</vt:lpstr>
      <vt:lpstr>Calibri</vt:lpstr>
      <vt:lpstr>Franklin Gothic Demi</vt:lpstr>
      <vt:lpstr>Garamond</vt:lpstr>
      <vt:lpstr>Gill Sans Light</vt:lpstr>
      <vt:lpstr>Gisha</vt:lpstr>
      <vt:lpstr>Lucida Grande</vt:lpstr>
      <vt:lpstr>Osaka</vt:lpstr>
      <vt:lpstr>Segoe UI</vt:lpstr>
      <vt:lpstr>Tahoma</vt:lpstr>
      <vt:lpstr>Times New Roman</vt:lpstr>
      <vt:lpstr>Verdana</vt:lpstr>
      <vt:lpstr>Wingdings</vt:lpstr>
      <vt:lpstr>Wingdings 2</vt:lpstr>
      <vt:lpstr>ヒラギノ角ゴ ProN W3</vt:lpstr>
      <vt:lpstr>Office Theme</vt:lpstr>
      <vt:lpstr>HAII – Datawarehouse</vt:lpstr>
      <vt:lpstr>Agenda</vt:lpstr>
      <vt:lpstr>Who am I?</vt:lpstr>
      <vt:lpstr>Agenda</vt:lpstr>
      <vt:lpstr>PowerPoint Presentation</vt:lpstr>
      <vt:lpstr>What is BI?</vt:lpstr>
      <vt:lpstr>Introduction to Data warehousing</vt:lpstr>
      <vt:lpstr>What we Need to achieve? From Data to Insight</vt:lpstr>
      <vt:lpstr>The questions we ask</vt:lpstr>
      <vt:lpstr>What exactly is a Datawarehouse?</vt:lpstr>
      <vt:lpstr>What is data integration</vt:lpstr>
      <vt:lpstr> Tiers of the classical Datawarehouse ecosystem</vt:lpstr>
      <vt:lpstr>The Datawarehouse key traits</vt:lpstr>
      <vt:lpstr>How is the Datawarehouse different from an OLTP</vt:lpstr>
      <vt:lpstr>What Is a Data Warehouse Used for?</vt:lpstr>
      <vt:lpstr>Why do we need a data warehouse at HAII?</vt:lpstr>
      <vt:lpstr>1) Many Data sources</vt:lpstr>
      <vt:lpstr>2) Complex relations make queries difficult</vt:lpstr>
      <vt:lpstr>3) Separate research and decision support</vt:lpstr>
      <vt:lpstr>4) Advanced Analytics</vt:lpstr>
      <vt:lpstr>What we will gain</vt:lpstr>
      <vt:lpstr>Agenda</vt:lpstr>
      <vt:lpstr>Few Facts</vt:lpstr>
      <vt:lpstr>Reason No#1 - Strategy</vt:lpstr>
      <vt:lpstr>Reason No#2 - Poor Data Quality</vt:lpstr>
      <vt:lpstr>Reason No#3 – Trying to boil the ocean</vt:lpstr>
      <vt:lpstr>Reason No#4 – The silent failure</vt:lpstr>
      <vt:lpstr>A Successful Datawarehouse project </vt:lpstr>
      <vt:lpstr>PowerPoint Presentation</vt:lpstr>
      <vt:lpstr>A Successful Datawarehouse project </vt:lpstr>
      <vt:lpstr>A Successful Datawarehouse project </vt:lpstr>
      <vt:lpstr>A Successful Datawarehouse project </vt:lpstr>
      <vt:lpstr>A Successful Datawarehouse project </vt:lpstr>
      <vt:lpstr>Datawarehouse project Key personnel</vt:lpstr>
      <vt:lpstr>Agile BI Project</vt:lpstr>
      <vt:lpstr>Agile BI</vt:lpstr>
      <vt:lpstr>Agenda</vt:lpstr>
      <vt:lpstr>Design</vt:lpstr>
      <vt:lpstr>Design – Top down vs. Bottom up</vt:lpstr>
      <vt:lpstr>The steps for a Data warhouse</vt:lpstr>
      <vt:lpstr>The steps for a Data warehouse</vt:lpstr>
      <vt:lpstr>ETL</vt:lpstr>
      <vt:lpstr>ETL</vt:lpstr>
      <vt:lpstr>What is data integration</vt:lpstr>
      <vt:lpstr>The propose of ETL and Data Integration</vt:lpstr>
      <vt:lpstr>How to build it?</vt:lpstr>
      <vt:lpstr>Extract</vt:lpstr>
      <vt:lpstr>Cleanse</vt:lpstr>
      <vt:lpstr>Integrate</vt:lpstr>
      <vt:lpstr>Deliver</vt:lpstr>
      <vt:lpstr>Dataflow Example</vt:lpstr>
      <vt:lpstr>The steps for a Data warhouse</vt:lpstr>
      <vt:lpstr>Design – Data structure</vt:lpstr>
      <vt:lpstr>Designing a Start Schema</vt:lpstr>
      <vt:lpstr>Design - Shared Infrastructure</vt:lpstr>
      <vt:lpstr>Design - Shared Infrastructure</vt:lpstr>
      <vt:lpstr>From Star to Snow-Flake</vt:lpstr>
      <vt:lpstr>Designing a Start Schema</vt:lpstr>
      <vt:lpstr>Dimension types</vt:lpstr>
      <vt:lpstr>The steps for a Data warhouse</vt:lpstr>
      <vt:lpstr>Relational Partitioning</vt:lpstr>
      <vt:lpstr>Relational Partitioning</vt:lpstr>
      <vt:lpstr>The steps for a Data warhouse</vt:lpstr>
      <vt:lpstr>Types of Information Systems </vt:lpstr>
      <vt:lpstr>Relational &amp; Analytical Database</vt:lpstr>
      <vt:lpstr>OLAP Databases</vt:lpstr>
      <vt:lpstr>OLAP Fundamentals</vt:lpstr>
      <vt:lpstr>In Memory Databases</vt:lpstr>
      <vt:lpstr>Deployment scenarios</vt:lpstr>
      <vt:lpstr>Design - Reporting VS. Analytics</vt:lpstr>
      <vt:lpstr>Reporting VS. Analytics Types of Information Systems </vt:lpstr>
      <vt:lpstr>Agenda</vt:lpstr>
      <vt:lpstr>Some numbers</vt:lpstr>
      <vt:lpstr>There are many new technologies</vt:lpstr>
      <vt:lpstr>The Data world before Big Data</vt:lpstr>
      <vt:lpstr>Technology types</vt:lpstr>
      <vt:lpstr>Hadoop very very quick intro </vt:lpstr>
      <vt:lpstr>Hadoop very very quick intro </vt:lpstr>
      <vt:lpstr>Hadoop Structure</vt:lpstr>
      <vt:lpstr>Hadoop</vt:lpstr>
      <vt:lpstr>Hadoop</vt:lpstr>
      <vt:lpstr>Evolution of Enterprise Data warehouse</vt:lpstr>
      <vt:lpstr>Massive Parallel processing DWH</vt:lpstr>
      <vt:lpstr>Massive Parallel processing DWH</vt:lpstr>
      <vt:lpstr>Massive Parallel processing DWH</vt:lpstr>
      <vt:lpstr>Massive Parallel processing DWH</vt:lpstr>
      <vt:lpstr>Real World Example MPP – 3 Node HP Vertica database</vt:lpstr>
      <vt:lpstr>PowerPoint Presentation</vt:lpstr>
      <vt:lpstr>Massive Parallel processing DWH</vt:lpstr>
      <vt:lpstr>Datawarehouse and Hadoop – Electricity Company user story</vt:lpstr>
      <vt:lpstr>Datawarehouse and Hadoop</vt:lpstr>
      <vt:lpstr>Datawarehouse and Hadoop</vt:lpstr>
      <vt:lpstr>PowerPoint Presentation</vt:lpstr>
      <vt:lpstr>Agenda</vt:lpstr>
      <vt:lpstr> Tiers of the classical BI system</vt:lpstr>
      <vt:lpstr>PowerPoint Presentation</vt:lpstr>
      <vt:lpstr>What is Data Mining</vt:lpstr>
      <vt:lpstr>Data mining platforms</vt:lpstr>
      <vt:lpstr>What can data mining do?</vt:lpstr>
      <vt:lpstr>Example for usage</vt:lpstr>
      <vt:lpstr>What can data mining do?</vt:lpstr>
      <vt:lpstr>KDD Methodology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y.Orion</dc:creator>
  <cp:lastModifiedBy>Oz Levi</cp:lastModifiedBy>
  <cp:revision>1121</cp:revision>
  <cp:lastPrinted>2012-11-01T16:07:02Z</cp:lastPrinted>
  <dcterms:created xsi:type="dcterms:W3CDTF">2012-10-25T00:35:28Z</dcterms:created>
  <dcterms:modified xsi:type="dcterms:W3CDTF">2014-03-18T16:0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EB6B8B0BB94A40A36B8920BD497724</vt:lpwstr>
  </property>
</Properties>
</file>